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6" r:id="rId3"/>
  </p:sldMasterIdLst>
  <p:notesMasterIdLst>
    <p:notesMasterId r:id="rId8"/>
  </p:notesMasterIdLst>
  <p:sldIdLst>
    <p:sldId id="524" r:id="rId4"/>
    <p:sldId id="2145703832" r:id="rId5"/>
    <p:sldId id="4860" r:id="rId6"/>
    <p:sldId id="2145703833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B0BA86-82F2-48A0-B974-47E092E2599B}" v="488" dt="2021-05-03T15:34:23.7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MLOPS</a:t>
            </a:r>
            <a:r>
              <a:rPr lang="en-US" baseline="0" dirty="0"/>
              <a:t> REPORTS 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653029851993945E-2"/>
          <c:y val="0.49022052118987103"/>
          <c:w val="0.81088320551865845"/>
          <c:h val="0.367508345733195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4</c:f>
              <c:strCache>
                <c:ptCount val="1"/>
                <c:pt idx="0">
                  <c:v>Field1</c:v>
                </c:pt>
              </c:strCache>
            </c:strRef>
          </c:tx>
          <c:spPr>
            <a:pattFill prst="narVert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4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D2-4D04-9546-FBD229B71D72}"/>
            </c:ext>
          </c:extLst>
        </c:ser>
        <c:ser>
          <c:idx val="1"/>
          <c:order val="1"/>
          <c:tx>
            <c:strRef>
              <c:f>Sheet1!$B$5</c:f>
              <c:strCache>
                <c:ptCount val="1"/>
                <c:pt idx="0">
                  <c:v>Field2</c:v>
                </c:pt>
              </c:strCache>
            </c:strRef>
          </c:tx>
          <c:spPr>
            <a:pattFill prst="narVert">
              <a:fgClr>
                <a:schemeClr val="accent2"/>
              </a:fgClr>
              <a:bgClr>
                <a:schemeClr val="accent2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2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5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D2-4D04-9546-FBD229B71D72}"/>
            </c:ext>
          </c:extLst>
        </c:ser>
        <c:ser>
          <c:idx val="2"/>
          <c:order val="2"/>
          <c:tx>
            <c:strRef>
              <c:f>Sheet1!$B$6</c:f>
              <c:strCache>
                <c:ptCount val="1"/>
                <c:pt idx="0">
                  <c:v>Field3</c:v>
                </c:pt>
              </c:strCache>
            </c:strRef>
          </c:tx>
          <c:spPr>
            <a:pattFill prst="narVert">
              <a:fgClr>
                <a:schemeClr val="accent3"/>
              </a:fgClr>
              <a:bgClr>
                <a:schemeClr val="accent3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3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6</c:f>
              <c:numCache>
                <c:formatCode>General</c:formatCode>
                <c:ptCount val="1"/>
                <c:pt idx="0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D2-4D04-9546-FBD229B71D72}"/>
            </c:ext>
          </c:extLst>
        </c:ser>
        <c:ser>
          <c:idx val="3"/>
          <c:order val="3"/>
          <c:tx>
            <c:strRef>
              <c:f>Sheet1!$B$7</c:f>
              <c:strCache>
                <c:ptCount val="1"/>
                <c:pt idx="0">
                  <c:v>Field4</c:v>
                </c:pt>
              </c:strCache>
            </c:strRef>
          </c:tx>
          <c:spPr>
            <a:pattFill prst="narVert">
              <a:fgClr>
                <a:schemeClr val="accent4"/>
              </a:fgClr>
              <a:bgClr>
                <a:schemeClr val="accent4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4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7</c:f>
              <c:numCache>
                <c:formatCode>General</c:formatCode>
                <c:ptCount val="1"/>
                <c:pt idx="0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D2-4D04-9546-FBD229B71D72}"/>
            </c:ext>
          </c:extLst>
        </c:ser>
        <c:ser>
          <c:idx val="4"/>
          <c:order val="4"/>
          <c:tx>
            <c:strRef>
              <c:f>Sheet1!$B$8</c:f>
              <c:strCache>
                <c:ptCount val="1"/>
                <c:pt idx="0">
                  <c:v>Field5</c:v>
                </c:pt>
              </c:strCache>
            </c:strRef>
          </c:tx>
          <c:spPr>
            <a:pattFill prst="narVert">
              <a:fgClr>
                <a:schemeClr val="accent5"/>
              </a:fgClr>
              <a:bgClr>
                <a:schemeClr val="accent5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5"/>
              </a:innerShdw>
            </a:effectLst>
          </c:spPr>
          <c:invertIfNegative val="0"/>
          <c:cat>
            <c:strRef>
              <c:f>Sheet1!$C$3</c:f>
              <c:strCache>
                <c:ptCount val="1"/>
                <c:pt idx="0">
                  <c:v>Correct Value Percent</c:v>
                </c:pt>
              </c:strCache>
            </c:strRef>
          </c:cat>
          <c:val>
            <c:numRef>
              <c:f>Sheet1!$C$8</c:f>
              <c:numCache>
                <c:formatCode>General</c:formatCode>
                <c:ptCount val="1"/>
                <c:pt idx="0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D2-4D04-9546-FBD229B71D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7"/>
        <c:overlap val="-48"/>
        <c:axId val="405739000"/>
        <c:axId val="413549384"/>
      </c:barChart>
      <c:catAx>
        <c:axId val="4057390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13549384"/>
        <c:crosses val="autoZero"/>
        <c:auto val="1"/>
        <c:lblAlgn val="ctr"/>
        <c:lblOffset val="100"/>
        <c:noMultiLvlLbl val="0"/>
      </c:catAx>
      <c:valAx>
        <c:axId val="413549384"/>
        <c:scaling>
          <c:orientation val="minMax"/>
          <c:max val="1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5739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rgbClr val="FFFFFF">
        <a:lumMod val="85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73E037-13FC-4502-8A9C-C6EE1905BE53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280BEA-9606-42C2-B68A-FE37ACE2D0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610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FCC8D5-6D68-A443-97C0-91AE597713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94789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1241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FCC8D5-6D68-A443-97C0-91AE597713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9960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905000"/>
            <a:ext cx="10363200" cy="2079624"/>
          </a:xfrm>
        </p:spPr>
        <p:txBody>
          <a:bodyPr>
            <a:noAutofit/>
          </a:bodyPr>
          <a:lstStyle>
            <a:lvl1pPr>
              <a:defRPr sz="7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3052" y="4038600"/>
            <a:ext cx="10365897" cy="762000"/>
          </a:xfrm>
        </p:spPr>
        <p:txBody>
          <a:bodyPr/>
          <a:lstStyle>
            <a:lvl1pPr marL="0" indent="0" algn="ctr">
              <a:buNone/>
              <a:defRPr>
                <a:solidFill>
                  <a:srgbClr val="70A0D7"/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125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2240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2797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bg>
      <p:bgPr>
        <a:gradFill>
          <a:gsLst>
            <a:gs pos="0">
              <a:srgbClr val="FF733C"/>
            </a:gs>
            <a:gs pos="54000">
              <a:srgbClr val="FF733C"/>
            </a:gs>
            <a:gs pos="100000">
              <a:srgbClr val="FF8C19"/>
            </a:gs>
          </a:gsLst>
          <a:lin ang="19320000" scaled="0"/>
        </a:gradFill>
        <a:effectLst/>
      </p:bgPr>
    </p:bg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Shape 153"/>
          <p:cNvGrpSpPr/>
          <p:nvPr/>
        </p:nvGrpSpPr>
        <p:grpSpPr>
          <a:xfrm>
            <a:off x="10364311" y="5791200"/>
            <a:ext cx="1659988" cy="922216"/>
            <a:chOff x="4056062" y="2305050"/>
            <a:chExt cx="4071937" cy="2262188"/>
          </a:xfrm>
        </p:grpSpPr>
        <p:sp>
          <p:nvSpPr>
            <p:cNvPr id="154" name="Shape 154"/>
            <p:cNvSpPr/>
            <p:nvPr/>
          </p:nvSpPr>
          <p:spPr>
            <a:xfrm>
              <a:off x="5259387" y="2684463"/>
              <a:ext cx="314324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59368"/>
                  </a:moveTo>
                  <a:cubicBezTo>
                    <a:pt x="46363" y="59368"/>
                    <a:pt x="46363" y="59368"/>
                    <a:pt x="46363" y="59368"/>
                  </a:cubicBezTo>
                  <a:cubicBezTo>
                    <a:pt x="46363" y="98526"/>
                    <a:pt x="46363" y="98526"/>
                    <a:pt x="46363" y="98526"/>
                  </a:cubicBezTo>
                  <a:cubicBezTo>
                    <a:pt x="46363" y="102315"/>
                    <a:pt x="51818" y="104842"/>
                    <a:pt x="60000" y="104842"/>
                  </a:cubicBezTo>
                  <a:cubicBezTo>
                    <a:pt x="70909" y="104842"/>
                    <a:pt x="73636" y="102315"/>
                    <a:pt x="73636" y="98526"/>
                  </a:cubicBezTo>
                  <a:cubicBezTo>
                    <a:pt x="73636" y="66947"/>
                    <a:pt x="73636" y="66947"/>
                    <a:pt x="73636" y="66947"/>
                  </a:cubicBezTo>
                  <a:cubicBezTo>
                    <a:pt x="120000" y="66947"/>
                    <a:pt x="120000" y="66947"/>
                    <a:pt x="120000" y="66947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100909" y="120000"/>
                    <a:pt x="60000" y="120000"/>
                  </a:cubicBezTo>
                  <a:cubicBezTo>
                    <a:pt x="19090" y="120000"/>
                    <a:pt x="0" y="112421"/>
                    <a:pt x="0" y="98526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19090" y="0"/>
                    <a:pt x="60000" y="0"/>
                  </a:cubicBezTo>
                  <a:cubicBezTo>
                    <a:pt x="100909" y="0"/>
                    <a:pt x="120000" y="6315"/>
                    <a:pt x="120000" y="20210"/>
                  </a:cubicBezTo>
                  <a:lnTo>
                    <a:pt x="120000" y="59368"/>
                  </a:lnTo>
                  <a:close/>
                  <a:moveTo>
                    <a:pt x="73636" y="45473"/>
                  </a:moveTo>
                  <a:cubicBezTo>
                    <a:pt x="73636" y="20210"/>
                    <a:pt x="73636" y="20210"/>
                    <a:pt x="73636" y="20210"/>
                  </a:cubicBezTo>
                  <a:cubicBezTo>
                    <a:pt x="73636" y="15157"/>
                    <a:pt x="70909" y="12631"/>
                    <a:pt x="60000" y="12631"/>
                  </a:cubicBezTo>
                  <a:cubicBezTo>
                    <a:pt x="51818" y="12631"/>
                    <a:pt x="46363" y="15157"/>
                    <a:pt x="46363" y="20210"/>
                  </a:cubicBezTo>
                  <a:cubicBezTo>
                    <a:pt x="46363" y="45473"/>
                    <a:pt x="46363" y="45473"/>
                    <a:pt x="46363" y="45473"/>
                  </a:cubicBezTo>
                  <a:lnTo>
                    <a:pt x="73636" y="454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Shape 155"/>
            <p:cNvSpPr/>
            <p:nvPr/>
          </p:nvSpPr>
          <p:spPr>
            <a:xfrm>
              <a:off x="5816600" y="2684463"/>
              <a:ext cx="315912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59368"/>
                  </a:moveTo>
                  <a:cubicBezTo>
                    <a:pt x="46363" y="59368"/>
                    <a:pt x="46363" y="59368"/>
                    <a:pt x="46363" y="59368"/>
                  </a:cubicBezTo>
                  <a:cubicBezTo>
                    <a:pt x="46363" y="98526"/>
                    <a:pt x="46363" y="98526"/>
                    <a:pt x="46363" y="98526"/>
                  </a:cubicBezTo>
                  <a:cubicBezTo>
                    <a:pt x="46363" y="102315"/>
                    <a:pt x="51818" y="104842"/>
                    <a:pt x="60000" y="104842"/>
                  </a:cubicBezTo>
                  <a:cubicBezTo>
                    <a:pt x="68181" y="104842"/>
                    <a:pt x="73636" y="102315"/>
                    <a:pt x="73636" y="98526"/>
                  </a:cubicBezTo>
                  <a:cubicBezTo>
                    <a:pt x="73636" y="66947"/>
                    <a:pt x="73636" y="66947"/>
                    <a:pt x="73636" y="66947"/>
                  </a:cubicBezTo>
                  <a:cubicBezTo>
                    <a:pt x="120000" y="66947"/>
                    <a:pt x="120000" y="66947"/>
                    <a:pt x="120000" y="66947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100909" y="120000"/>
                    <a:pt x="60000" y="120000"/>
                  </a:cubicBezTo>
                  <a:cubicBezTo>
                    <a:pt x="19090" y="120000"/>
                    <a:pt x="0" y="112421"/>
                    <a:pt x="0" y="98526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19090" y="0"/>
                    <a:pt x="60000" y="0"/>
                  </a:cubicBezTo>
                  <a:cubicBezTo>
                    <a:pt x="100909" y="0"/>
                    <a:pt x="120000" y="6315"/>
                    <a:pt x="120000" y="20210"/>
                  </a:cubicBezTo>
                  <a:lnTo>
                    <a:pt x="120000" y="59368"/>
                  </a:lnTo>
                  <a:close/>
                  <a:moveTo>
                    <a:pt x="73636" y="45473"/>
                  </a:moveTo>
                  <a:cubicBezTo>
                    <a:pt x="73636" y="20210"/>
                    <a:pt x="73636" y="20210"/>
                    <a:pt x="73636" y="20210"/>
                  </a:cubicBezTo>
                  <a:cubicBezTo>
                    <a:pt x="73636" y="15157"/>
                    <a:pt x="68181" y="12631"/>
                    <a:pt x="60000" y="12631"/>
                  </a:cubicBezTo>
                  <a:cubicBezTo>
                    <a:pt x="51818" y="12631"/>
                    <a:pt x="46363" y="15157"/>
                    <a:pt x="46363" y="20210"/>
                  </a:cubicBezTo>
                  <a:cubicBezTo>
                    <a:pt x="46363" y="45473"/>
                    <a:pt x="46363" y="45473"/>
                    <a:pt x="46363" y="45473"/>
                  </a:cubicBezTo>
                  <a:lnTo>
                    <a:pt x="73636" y="454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Shape 156"/>
            <p:cNvSpPr/>
            <p:nvPr/>
          </p:nvSpPr>
          <p:spPr>
            <a:xfrm>
              <a:off x="6167437" y="2684463"/>
              <a:ext cx="32226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18736"/>
                  </a:moveTo>
                  <a:cubicBezTo>
                    <a:pt x="72000" y="118736"/>
                    <a:pt x="72000" y="118736"/>
                    <a:pt x="72000" y="118736"/>
                  </a:cubicBezTo>
                  <a:cubicBezTo>
                    <a:pt x="72000" y="114947"/>
                    <a:pt x="72000" y="114947"/>
                    <a:pt x="72000" y="114947"/>
                  </a:cubicBezTo>
                  <a:cubicBezTo>
                    <a:pt x="69333" y="118736"/>
                    <a:pt x="58666" y="120000"/>
                    <a:pt x="40000" y="120000"/>
                  </a:cubicBezTo>
                  <a:cubicBezTo>
                    <a:pt x="13333" y="120000"/>
                    <a:pt x="0" y="114947"/>
                    <a:pt x="0" y="104842"/>
                  </a:cubicBezTo>
                  <a:cubicBezTo>
                    <a:pt x="0" y="66947"/>
                    <a:pt x="0" y="66947"/>
                    <a:pt x="0" y="66947"/>
                  </a:cubicBezTo>
                  <a:cubicBezTo>
                    <a:pt x="0" y="61894"/>
                    <a:pt x="2666" y="58105"/>
                    <a:pt x="10666" y="55578"/>
                  </a:cubicBezTo>
                  <a:cubicBezTo>
                    <a:pt x="16000" y="51789"/>
                    <a:pt x="29333" y="48000"/>
                    <a:pt x="50666" y="42947"/>
                  </a:cubicBezTo>
                  <a:cubicBezTo>
                    <a:pt x="64000" y="40421"/>
                    <a:pt x="72000" y="37894"/>
                    <a:pt x="72000" y="36631"/>
                  </a:cubicBezTo>
                  <a:cubicBezTo>
                    <a:pt x="72000" y="20210"/>
                    <a:pt x="72000" y="20210"/>
                    <a:pt x="72000" y="20210"/>
                  </a:cubicBezTo>
                  <a:cubicBezTo>
                    <a:pt x="72000" y="15157"/>
                    <a:pt x="69333" y="12631"/>
                    <a:pt x="58666" y="12631"/>
                  </a:cubicBezTo>
                  <a:cubicBezTo>
                    <a:pt x="50666" y="12631"/>
                    <a:pt x="45333" y="15157"/>
                    <a:pt x="45333" y="20210"/>
                  </a:cubicBezTo>
                  <a:cubicBezTo>
                    <a:pt x="45333" y="37894"/>
                    <a:pt x="45333" y="37894"/>
                    <a:pt x="45333" y="37894"/>
                  </a:cubicBezTo>
                  <a:cubicBezTo>
                    <a:pt x="0" y="37894"/>
                    <a:pt x="0" y="37894"/>
                    <a:pt x="0" y="37894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21333" y="0"/>
                    <a:pt x="58666" y="0"/>
                  </a:cubicBezTo>
                  <a:cubicBezTo>
                    <a:pt x="98666" y="0"/>
                    <a:pt x="120000" y="6315"/>
                    <a:pt x="120000" y="20210"/>
                  </a:cubicBezTo>
                  <a:lnTo>
                    <a:pt x="120000" y="118736"/>
                  </a:lnTo>
                  <a:close/>
                  <a:moveTo>
                    <a:pt x="72000" y="98526"/>
                  </a:moveTo>
                  <a:cubicBezTo>
                    <a:pt x="72000" y="55578"/>
                    <a:pt x="72000" y="55578"/>
                    <a:pt x="72000" y="55578"/>
                  </a:cubicBezTo>
                  <a:cubicBezTo>
                    <a:pt x="56000" y="56842"/>
                    <a:pt x="45333" y="59368"/>
                    <a:pt x="45333" y="63157"/>
                  </a:cubicBezTo>
                  <a:cubicBezTo>
                    <a:pt x="45333" y="98526"/>
                    <a:pt x="45333" y="98526"/>
                    <a:pt x="45333" y="98526"/>
                  </a:cubicBezTo>
                  <a:cubicBezTo>
                    <a:pt x="45333" y="102315"/>
                    <a:pt x="50666" y="104842"/>
                    <a:pt x="58666" y="104842"/>
                  </a:cubicBezTo>
                  <a:cubicBezTo>
                    <a:pt x="69333" y="104842"/>
                    <a:pt x="72000" y="102315"/>
                    <a:pt x="72000" y="98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Shape 157"/>
            <p:cNvSpPr/>
            <p:nvPr/>
          </p:nvSpPr>
          <p:spPr>
            <a:xfrm>
              <a:off x="6524625" y="2684463"/>
              <a:ext cx="315912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45957"/>
                  </a:moveTo>
                  <a:cubicBezTo>
                    <a:pt x="73636" y="45957"/>
                    <a:pt x="73636" y="45957"/>
                    <a:pt x="73636" y="45957"/>
                  </a:cubicBezTo>
                  <a:cubicBezTo>
                    <a:pt x="73636" y="20425"/>
                    <a:pt x="73636" y="20425"/>
                    <a:pt x="73636" y="20425"/>
                  </a:cubicBezTo>
                  <a:cubicBezTo>
                    <a:pt x="73636" y="15319"/>
                    <a:pt x="68181" y="12765"/>
                    <a:pt x="60000" y="12765"/>
                  </a:cubicBezTo>
                  <a:cubicBezTo>
                    <a:pt x="51818" y="12765"/>
                    <a:pt x="46363" y="15319"/>
                    <a:pt x="46363" y="20425"/>
                  </a:cubicBezTo>
                  <a:cubicBezTo>
                    <a:pt x="46363" y="120000"/>
                    <a:pt x="46363" y="120000"/>
                    <a:pt x="46363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363" y="0"/>
                    <a:pt x="46363" y="0"/>
                    <a:pt x="46363" y="0"/>
                  </a:cubicBezTo>
                  <a:cubicBezTo>
                    <a:pt x="46363" y="3829"/>
                    <a:pt x="46363" y="3829"/>
                    <a:pt x="46363" y="3829"/>
                  </a:cubicBezTo>
                  <a:cubicBezTo>
                    <a:pt x="54545" y="1276"/>
                    <a:pt x="68181" y="0"/>
                    <a:pt x="84545" y="0"/>
                  </a:cubicBezTo>
                  <a:cubicBezTo>
                    <a:pt x="92727" y="0"/>
                    <a:pt x="100909" y="1276"/>
                    <a:pt x="109090" y="5106"/>
                  </a:cubicBezTo>
                  <a:cubicBezTo>
                    <a:pt x="117272" y="8936"/>
                    <a:pt x="120000" y="14042"/>
                    <a:pt x="120000" y="20425"/>
                  </a:cubicBezTo>
                  <a:lnTo>
                    <a:pt x="120000" y="459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Shape 158"/>
            <p:cNvSpPr/>
            <p:nvPr/>
          </p:nvSpPr>
          <p:spPr>
            <a:xfrm>
              <a:off x="6869113" y="2684463"/>
              <a:ext cx="322263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cubicBezTo>
                    <a:pt x="74666" y="120000"/>
                    <a:pt x="74666" y="120000"/>
                    <a:pt x="74666" y="120000"/>
                  </a:cubicBezTo>
                  <a:cubicBezTo>
                    <a:pt x="74666" y="20425"/>
                    <a:pt x="74666" y="20425"/>
                    <a:pt x="74666" y="20425"/>
                  </a:cubicBezTo>
                  <a:cubicBezTo>
                    <a:pt x="74666" y="15319"/>
                    <a:pt x="69333" y="12765"/>
                    <a:pt x="61333" y="12765"/>
                  </a:cubicBezTo>
                  <a:cubicBezTo>
                    <a:pt x="50666" y="12765"/>
                    <a:pt x="48000" y="15319"/>
                    <a:pt x="48000" y="20425"/>
                  </a:cubicBezTo>
                  <a:cubicBezTo>
                    <a:pt x="48000" y="120000"/>
                    <a:pt x="48000" y="120000"/>
                    <a:pt x="48000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000" y="0"/>
                    <a:pt x="48000" y="0"/>
                    <a:pt x="48000" y="0"/>
                  </a:cubicBezTo>
                  <a:cubicBezTo>
                    <a:pt x="48000" y="3829"/>
                    <a:pt x="48000" y="3829"/>
                    <a:pt x="48000" y="3829"/>
                  </a:cubicBezTo>
                  <a:cubicBezTo>
                    <a:pt x="56000" y="1276"/>
                    <a:pt x="69333" y="0"/>
                    <a:pt x="82666" y="0"/>
                  </a:cubicBezTo>
                  <a:cubicBezTo>
                    <a:pt x="93333" y="0"/>
                    <a:pt x="101333" y="1276"/>
                    <a:pt x="109333" y="5106"/>
                  </a:cubicBezTo>
                  <a:cubicBezTo>
                    <a:pt x="117333" y="8936"/>
                    <a:pt x="120000" y="14042"/>
                    <a:pt x="120000" y="20425"/>
                  </a:cubicBezTo>
                  <a:lnTo>
                    <a:pt x="12000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Shape 159"/>
            <p:cNvSpPr/>
            <p:nvPr/>
          </p:nvSpPr>
          <p:spPr>
            <a:xfrm>
              <a:off x="7219950" y="2547938"/>
              <a:ext cx="120649" cy="8096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8495"/>
                  </a:moveTo>
                  <a:cubicBezTo>
                    <a:pt x="0" y="6371"/>
                    <a:pt x="7058" y="4247"/>
                    <a:pt x="21176" y="2123"/>
                  </a:cubicBezTo>
                  <a:cubicBezTo>
                    <a:pt x="35294" y="1061"/>
                    <a:pt x="49411" y="0"/>
                    <a:pt x="63529" y="0"/>
                  </a:cubicBezTo>
                  <a:cubicBezTo>
                    <a:pt x="77647" y="0"/>
                    <a:pt x="91764" y="1061"/>
                    <a:pt x="105882" y="2123"/>
                  </a:cubicBezTo>
                  <a:cubicBezTo>
                    <a:pt x="112941" y="4247"/>
                    <a:pt x="120000" y="6371"/>
                    <a:pt x="120000" y="8495"/>
                  </a:cubicBezTo>
                  <a:cubicBezTo>
                    <a:pt x="120000" y="11681"/>
                    <a:pt x="112941" y="13805"/>
                    <a:pt x="105882" y="14867"/>
                  </a:cubicBezTo>
                  <a:cubicBezTo>
                    <a:pt x="91764" y="16991"/>
                    <a:pt x="77647" y="18053"/>
                    <a:pt x="63529" y="18053"/>
                  </a:cubicBezTo>
                  <a:cubicBezTo>
                    <a:pt x="42352" y="18053"/>
                    <a:pt x="28235" y="16991"/>
                    <a:pt x="21176" y="14867"/>
                  </a:cubicBezTo>
                  <a:cubicBezTo>
                    <a:pt x="7058" y="13805"/>
                    <a:pt x="0" y="11681"/>
                    <a:pt x="0" y="8495"/>
                  </a:cubicBezTo>
                  <a:close/>
                  <a:moveTo>
                    <a:pt x="120000" y="20176"/>
                  </a:moveTo>
                  <a:cubicBezTo>
                    <a:pt x="0" y="20176"/>
                    <a:pt x="0" y="20176"/>
                    <a:pt x="0" y="20176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120000" y="120000"/>
                    <a:pt x="120000" y="120000"/>
                    <a:pt x="120000" y="120000"/>
                  </a:cubicBezTo>
                  <a:lnTo>
                    <a:pt x="120000" y="201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Shape 160"/>
            <p:cNvSpPr/>
            <p:nvPr/>
          </p:nvSpPr>
          <p:spPr>
            <a:xfrm>
              <a:off x="7377113" y="2684463"/>
              <a:ext cx="322263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cubicBezTo>
                    <a:pt x="74666" y="120000"/>
                    <a:pt x="74666" y="120000"/>
                    <a:pt x="74666" y="120000"/>
                  </a:cubicBezTo>
                  <a:cubicBezTo>
                    <a:pt x="74666" y="20425"/>
                    <a:pt x="74666" y="20425"/>
                    <a:pt x="74666" y="20425"/>
                  </a:cubicBezTo>
                  <a:cubicBezTo>
                    <a:pt x="74666" y="15319"/>
                    <a:pt x="69333" y="12765"/>
                    <a:pt x="61333" y="12765"/>
                  </a:cubicBezTo>
                  <a:cubicBezTo>
                    <a:pt x="50666" y="12765"/>
                    <a:pt x="48000" y="15319"/>
                    <a:pt x="48000" y="20425"/>
                  </a:cubicBezTo>
                  <a:cubicBezTo>
                    <a:pt x="48000" y="120000"/>
                    <a:pt x="48000" y="120000"/>
                    <a:pt x="48000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000" y="0"/>
                    <a:pt x="48000" y="0"/>
                    <a:pt x="48000" y="0"/>
                  </a:cubicBezTo>
                  <a:cubicBezTo>
                    <a:pt x="48000" y="3829"/>
                    <a:pt x="48000" y="3829"/>
                    <a:pt x="48000" y="3829"/>
                  </a:cubicBezTo>
                  <a:cubicBezTo>
                    <a:pt x="56000" y="1276"/>
                    <a:pt x="69333" y="0"/>
                    <a:pt x="85333" y="0"/>
                  </a:cubicBezTo>
                  <a:cubicBezTo>
                    <a:pt x="93333" y="0"/>
                    <a:pt x="101333" y="1276"/>
                    <a:pt x="109333" y="5106"/>
                  </a:cubicBezTo>
                  <a:cubicBezTo>
                    <a:pt x="117333" y="8936"/>
                    <a:pt x="120000" y="14042"/>
                    <a:pt x="120000" y="20425"/>
                  </a:cubicBezTo>
                  <a:lnTo>
                    <a:pt x="12000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Shape 161"/>
            <p:cNvSpPr/>
            <p:nvPr/>
          </p:nvSpPr>
          <p:spPr>
            <a:xfrm>
              <a:off x="7727950" y="2684463"/>
              <a:ext cx="320675" cy="6730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000" y="120000"/>
                  </a:moveTo>
                  <a:cubicBezTo>
                    <a:pt x="8000" y="104680"/>
                    <a:pt x="8000" y="104680"/>
                    <a:pt x="8000" y="104680"/>
                  </a:cubicBezTo>
                  <a:cubicBezTo>
                    <a:pt x="50666" y="104680"/>
                    <a:pt x="50666" y="104680"/>
                    <a:pt x="50666" y="104680"/>
                  </a:cubicBezTo>
                  <a:cubicBezTo>
                    <a:pt x="64000" y="104680"/>
                    <a:pt x="72000" y="100851"/>
                    <a:pt x="72000" y="94468"/>
                  </a:cubicBezTo>
                  <a:cubicBezTo>
                    <a:pt x="58666" y="95744"/>
                    <a:pt x="48000" y="97021"/>
                    <a:pt x="40000" y="97021"/>
                  </a:cubicBezTo>
                  <a:cubicBezTo>
                    <a:pt x="13333" y="97021"/>
                    <a:pt x="0" y="90638"/>
                    <a:pt x="0" y="77872"/>
                  </a:cubicBezTo>
                  <a:cubicBezTo>
                    <a:pt x="0" y="20425"/>
                    <a:pt x="0" y="20425"/>
                    <a:pt x="0" y="20425"/>
                  </a:cubicBezTo>
                  <a:cubicBezTo>
                    <a:pt x="0" y="6382"/>
                    <a:pt x="13333" y="0"/>
                    <a:pt x="40000" y="0"/>
                  </a:cubicBezTo>
                  <a:cubicBezTo>
                    <a:pt x="48000" y="0"/>
                    <a:pt x="58666" y="1276"/>
                    <a:pt x="72000" y="3829"/>
                  </a:cubicBezTo>
                  <a:cubicBezTo>
                    <a:pt x="72000" y="0"/>
                    <a:pt x="72000" y="0"/>
                    <a:pt x="72000" y="0"/>
                  </a:cubicBezTo>
                  <a:cubicBezTo>
                    <a:pt x="117333" y="0"/>
                    <a:pt x="117333" y="0"/>
                    <a:pt x="117333" y="0"/>
                  </a:cubicBezTo>
                  <a:cubicBezTo>
                    <a:pt x="117333" y="94468"/>
                    <a:pt x="117333" y="94468"/>
                    <a:pt x="117333" y="94468"/>
                  </a:cubicBezTo>
                  <a:cubicBezTo>
                    <a:pt x="120000" y="100851"/>
                    <a:pt x="117333" y="107234"/>
                    <a:pt x="109333" y="112340"/>
                  </a:cubicBezTo>
                  <a:cubicBezTo>
                    <a:pt x="101333" y="117446"/>
                    <a:pt x="85333" y="120000"/>
                    <a:pt x="61333" y="120000"/>
                  </a:cubicBezTo>
                  <a:lnTo>
                    <a:pt x="8000" y="120000"/>
                  </a:lnTo>
                  <a:close/>
                  <a:moveTo>
                    <a:pt x="72000" y="77872"/>
                  </a:moveTo>
                  <a:cubicBezTo>
                    <a:pt x="72000" y="20425"/>
                    <a:pt x="72000" y="20425"/>
                    <a:pt x="72000" y="20425"/>
                  </a:cubicBezTo>
                  <a:cubicBezTo>
                    <a:pt x="72000" y="15319"/>
                    <a:pt x="66666" y="12765"/>
                    <a:pt x="58666" y="12765"/>
                  </a:cubicBezTo>
                  <a:cubicBezTo>
                    <a:pt x="50666" y="12765"/>
                    <a:pt x="45333" y="15319"/>
                    <a:pt x="45333" y="20425"/>
                  </a:cubicBezTo>
                  <a:cubicBezTo>
                    <a:pt x="45333" y="77872"/>
                    <a:pt x="45333" y="77872"/>
                    <a:pt x="45333" y="77872"/>
                  </a:cubicBezTo>
                  <a:cubicBezTo>
                    <a:pt x="45333" y="81702"/>
                    <a:pt x="50666" y="84255"/>
                    <a:pt x="58666" y="84255"/>
                  </a:cubicBezTo>
                  <a:cubicBezTo>
                    <a:pt x="66666" y="84255"/>
                    <a:pt x="72000" y="81702"/>
                    <a:pt x="72000" y="778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Shape 162"/>
            <p:cNvSpPr/>
            <p:nvPr/>
          </p:nvSpPr>
          <p:spPr>
            <a:xfrm>
              <a:off x="5259387" y="3465512"/>
              <a:ext cx="32861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6956" y="114947"/>
                  </a:moveTo>
                  <a:cubicBezTo>
                    <a:pt x="46956" y="118736"/>
                    <a:pt x="46956" y="118736"/>
                    <a:pt x="46956" y="118736"/>
                  </a:cubicBezTo>
                  <a:cubicBezTo>
                    <a:pt x="0" y="118736"/>
                    <a:pt x="0" y="118736"/>
                    <a:pt x="0" y="1187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956" y="0"/>
                    <a:pt x="46956" y="0"/>
                    <a:pt x="46956" y="0"/>
                  </a:cubicBezTo>
                  <a:cubicBezTo>
                    <a:pt x="46956" y="16421"/>
                    <a:pt x="46956" y="16421"/>
                    <a:pt x="46956" y="16421"/>
                  </a:cubicBezTo>
                  <a:cubicBezTo>
                    <a:pt x="54782" y="13894"/>
                    <a:pt x="67826" y="12631"/>
                    <a:pt x="83478" y="12631"/>
                  </a:cubicBezTo>
                  <a:cubicBezTo>
                    <a:pt x="91304" y="12631"/>
                    <a:pt x="101739" y="13894"/>
                    <a:pt x="106956" y="16421"/>
                  </a:cubicBezTo>
                  <a:cubicBezTo>
                    <a:pt x="114782" y="17684"/>
                    <a:pt x="120000" y="24000"/>
                    <a:pt x="120000" y="32842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07368"/>
                    <a:pt x="114782" y="112421"/>
                    <a:pt x="106956" y="114947"/>
                  </a:cubicBezTo>
                  <a:cubicBezTo>
                    <a:pt x="96521" y="118736"/>
                    <a:pt x="86086" y="120000"/>
                    <a:pt x="73043" y="120000"/>
                  </a:cubicBezTo>
                  <a:cubicBezTo>
                    <a:pt x="62608" y="120000"/>
                    <a:pt x="54782" y="118736"/>
                    <a:pt x="46956" y="114947"/>
                  </a:cubicBezTo>
                  <a:close/>
                  <a:moveTo>
                    <a:pt x="73043" y="98526"/>
                  </a:moveTo>
                  <a:cubicBezTo>
                    <a:pt x="73043" y="32842"/>
                    <a:pt x="73043" y="32842"/>
                    <a:pt x="73043" y="32842"/>
                  </a:cubicBezTo>
                  <a:cubicBezTo>
                    <a:pt x="73043" y="27789"/>
                    <a:pt x="67826" y="26526"/>
                    <a:pt x="60000" y="26526"/>
                  </a:cubicBezTo>
                  <a:cubicBezTo>
                    <a:pt x="49565" y="26526"/>
                    <a:pt x="46956" y="27789"/>
                    <a:pt x="46956" y="32842"/>
                  </a:cubicBezTo>
                  <a:cubicBezTo>
                    <a:pt x="46956" y="98526"/>
                    <a:pt x="46956" y="98526"/>
                    <a:pt x="46956" y="98526"/>
                  </a:cubicBezTo>
                  <a:cubicBezTo>
                    <a:pt x="46956" y="102315"/>
                    <a:pt x="49565" y="104842"/>
                    <a:pt x="60000" y="104842"/>
                  </a:cubicBezTo>
                  <a:cubicBezTo>
                    <a:pt x="67826" y="104842"/>
                    <a:pt x="73043" y="102315"/>
                    <a:pt x="73043" y="98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Shape 163"/>
            <p:cNvSpPr/>
            <p:nvPr/>
          </p:nvSpPr>
          <p:spPr>
            <a:xfrm>
              <a:off x="5624512" y="3465512"/>
              <a:ext cx="320675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45957"/>
                  </a:moveTo>
                  <a:cubicBezTo>
                    <a:pt x="74666" y="45957"/>
                    <a:pt x="74666" y="45957"/>
                    <a:pt x="74666" y="45957"/>
                  </a:cubicBezTo>
                  <a:cubicBezTo>
                    <a:pt x="74666" y="20425"/>
                    <a:pt x="74666" y="20425"/>
                    <a:pt x="74666" y="20425"/>
                  </a:cubicBezTo>
                  <a:cubicBezTo>
                    <a:pt x="74666" y="15319"/>
                    <a:pt x="69333" y="12765"/>
                    <a:pt x="61333" y="12765"/>
                  </a:cubicBezTo>
                  <a:cubicBezTo>
                    <a:pt x="50666" y="12765"/>
                    <a:pt x="45333" y="15319"/>
                    <a:pt x="45333" y="20425"/>
                  </a:cubicBezTo>
                  <a:cubicBezTo>
                    <a:pt x="45333" y="120000"/>
                    <a:pt x="45333" y="120000"/>
                    <a:pt x="45333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333" y="0"/>
                    <a:pt x="45333" y="0"/>
                    <a:pt x="45333" y="0"/>
                  </a:cubicBezTo>
                  <a:cubicBezTo>
                    <a:pt x="45333" y="3829"/>
                    <a:pt x="45333" y="3829"/>
                    <a:pt x="45333" y="3829"/>
                  </a:cubicBezTo>
                  <a:cubicBezTo>
                    <a:pt x="56000" y="1276"/>
                    <a:pt x="69333" y="0"/>
                    <a:pt x="85333" y="0"/>
                  </a:cubicBezTo>
                  <a:cubicBezTo>
                    <a:pt x="93333" y="0"/>
                    <a:pt x="101333" y="1276"/>
                    <a:pt x="109333" y="5106"/>
                  </a:cubicBezTo>
                  <a:cubicBezTo>
                    <a:pt x="117333" y="8936"/>
                    <a:pt x="120000" y="14042"/>
                    <a:pt x="120000" y="20425"/>
                  </a:cubicBezTo>
                  <a:lnTo>
                    <a:pt x="120000" y="459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Shape 164"/>
            <p:cNvSpPr/>
            <p:nvPr/>
          </p:nvSpPr>
          <p:spPr>
            <a:xfrm>
              <a:off x="5973762" y="3465512"/>
              <a:ext cx="330200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98526"/>
                  </a:move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20869" y="0"/>
                    <a:pt x="60000" y="0"/>
                  </a:cubicBezTo>
                  <a:cubicBezTo>
                    <a:pt x="99130" y="0"/>
                    <a:pt x="120000" y="6315"/>
                    <a:pt x="120000" y="20210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99130" y="120000"/>
                    <a:pt x="60000" y="120000"/>
                  </a:cubicBezTo>
                  <a:cubicBezTo>
                    <a:pt x="20869" y="120000"/>
                    <a:pt x="0" y="112421"/>
                    <a:pt x="0" y="98526"/>
                  </a:cubicBezTo>
                  <a:close/>
                  <a:moveTo>
                    <a:pt x="73043" y="98526"/>
                  </a:moveTo>
                  <a:cubicBezTo>
                    <a:pt x="73043" y="20210"/>
                    <a:pt x="73043" y="20210"/>
                    <a:pt x="73043" y="20210"/>
                  </a:cubicBezTo>
                  <a:cubicBezTo>
                    <a:pt x="73043" y="15157"/>
                    <a:pt x="67826" y="12631"/>
                    <a:pt x="60000" y="12631"/>
                  </a:cubicBezTo>
                  <a:cubicBezTo>
                    <a:pt x="49565" y="12631"/>
                    <a:pt x="46956" y="15157"/>
                    <a:pt x="46956" y="20210"/>
                  </a:cubicBezTo>
                  <a:cubicBezTo>
                    <a:pt x="46956" y="98526"/>
                    <a:pt x="46956" y="98526"/>
                    <a:pt x="46956" y="98526"/>
                  </a:cubicBezTo>
                  <a:cubicBezTo>
                    <a:pt x="46956" y="102315"/>
                    <a:pt x="49565" y="104842"/>
                    <a:pt x="60000" y="104842"/>
                  </a:cubicBezTo>
                  <a:cubicBezTo>
                    <a:pt x="67826" y="104842"/>
                    <a:pt x="73043" y="102315"/>
                    <a:pt x="73043" y="985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Shape 165"/>
            <p:cNvSpPr/>
            <p:nvPr/>
          </p:nvSpPr>
          <p:spPr>
            <a:xfrm>
              <a:off x="6332537" y="3465512"/>
              <a:ext cx="263525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39574"/>
                  </a:moveTo>
                  <a:cubicBezTo>
                    <a:pt x="74594" y="39574"/>
                    <a:pt x="74594" y="39574"/>
                    <a:pt x="74594" y="39574"/>
                  </a:cubicBezTo>
                  <a:cubicBezTo>
                    <a:pt x="74594" y="94468"/>
                    <a:pt x="74594" y="94468"/>
                    <a:pt x="74594" y="94468"/>
                  </a:cubicBezTo>
                  <a:cubicBezTo>
                    <a:pt x="74594" y="102127"/>
                    <a:pt x="81081" y="105957"/>
                    <a:pt x="90810" y="105957"/>
                  </a:cubicBezTo>
                  <a:cubicBezTo>
                    <a:pt x="120000" y="105957"/>
                    <a:pt x="120000" y="105957"/>
                    <a:pt x="120000" y="105957"/>
                  </a:cubicBezTo>
                  <a:cubicBezTo>
                    <a:pt x="120000" y="120000"/>
                    <a:pt x="120000" y="120000"/>
                    <a:pt x="120000" y="120000"/>
                  </a:cubicBezTo>
                  <a:cubicBezTo>
                    <a:pt x="90810" y="120000"/>
                    <a:pt x="90810" y="120000"/>
                    <a:pt x="90810" y="120000"/>
                  </a:cubicBezTo>
                  <a:cubicBezTo>
                    <a:pt x="61621" y="120000"/>
                    <a:pt x="42162" y="117446"/>
                    <a:pt x="32432" y="113617"/>
                  </a:cubicBezTo>
                  <a:cubicBezTo>
                    <a:pt x="22702" y="109787"/>
                    <a:pt x="16216" y="103404"/>
                    <a:pt x="16216" y="94468"/>
                  </a:cubicBezTo>
                  <a:cubicBezTo>
                    <a:pt x="16216" y="39574"/>
                    <a:pt x="16216" y="39574"/>
                    <a:pt x="16216" y="39574"/>
                  </a:cubicBezTo>
                  <a:cubicBezTo>
                    <a:pt x="0" y="39574"/>
                    <a:pt x="0" y="39574"/>
                    <a:pt x="0" y="39574"/>
                  </a:cubicBezTo>
                  <a:cubicBezTo>
                    <a:pt x="0" y="25531"/>
                    <a:pt x="0" y="25531"/>
                    <a:pt x="0" y="25531"/>
                  </a:cubicBezTo>
                  <a:cubicBezTo>
                    <a:pt x="16216" y="25531"/>
                    <a:pt x="16216" y="25531"/>
                    <a:pt x="16216" y="25531"/>
                  </a:cubicBezTo>
                  <a:cubicBezTo>
                    <a:pt x="16216" y="0"/>
                    <a:pt x="16216" y="0"/>
                    <a:pt x="16216" y="0"/>
                  </a:cubicBezTo>
                  <a:cubicBezTo>
                    <a:pt x="74594" y="0"/>
                    <a:pt x="74594" y="0"/>
                    <a:pt x="74594" y="0"/>
                  </a:cubicBezTo>
                  <a:cubicBezTo>
                    <a:pt x="74594" y="25531"/>
                    <a:pt x="74594" y="25531"/>
                    <a:pt x="74594" y="25531"/>
                  </a:cubicBezTo>
                  <a:cubicBezTo>
                    <a:pt x="120000" y="25531"/>
                    <a:pt x="120000" y="25531"/>
                    <a:pt x="120000" y="25531"/>
                  </a:cubicBezTo>
                  <a:lnTo>
                    <a:pt x="120000" y="395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Shape 166"/>
            <p:cNvSpPr/>
            <p:nvPr/>
          </p:nvSpPr>
          <p:spPr>
            <a:xfrm>
              <a:off x="6632575" y="3465512"/>
              <a:ext cx="328613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120000"/>
                  </a:moveTo>
                  <a:cubicBezTo>
                    <a:pt x="73043" y="120000"/>
                    <a:pt x="73043" y="120000"/>
                    <a:pt x="73043" y="120000"/>
                  </a:cubicBezTo>
                  <a:cubicBezTo>
                    <a:pt x="73043" y="33191"/>
                    <a:pt x="73043" y="33191"/>
                    <a:pt x="73043" y="33191"/>
                  </a:cubicBezTo>
                  <a:cubicBezTo>
                    <a:pt x="73043" y="28085"/>
                    <a:pt x="67826" y="26808"/>
                    <a:pt x="60000" y="26808"/>
                  </a:cubicBezTo>
                  <a:cubicBezTo>
                    <a:pt x="49565" y="26808"/>
                    <a:pt x="46956" y="28085"/>
                    <a:pt x="46956" y="33191"/>
                  </a:cubicBezTo>
                  <a:cubicBezTo>
                    <a:pt x="46956" y="120000"/>
                    <a:pt x="46956" y="120000"/>
                    <a:pt x="46956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956" y="0"/>
                    <a:pt x="46956" y="0"/>
                    <a:pt x="46956" y="0"/>
                  </a:cubicBezTo>
                  <a:cubicBezTo>
                    <a:pt x="46956" y="16595"/>
                    <a:pt x="46956" y="16595"/>
                    <a:pt x="46956" y="16595"/>
                  </a:cubicBezTo>
                  <a:cubicBezTo>
                    <a:pt x="54782" y="14042"/>
                    <a:pt x="67826" y="12765"/>
                    <a:pt x="80869" y="12765"/>
                  </a:cubicBezTo>
                  <a:cubicBezTo>
                    <a:pt x="91304" y="12765"/>
                    <a:pt x="99130" y="14042"/>
                    <a:pt x="106956" y="16595"/>
                  </a:cubicBezTo>
                  <a:cubicBezTo>
                    <a:pt x="114782" y="19148"/>
                    <a:pt x="120000" y="24255"/>
                    <a:pt x="120000" y="33191"/>
                  </a:cubicBezTo>
                  <a:lnTo>
                    <a:pt x="120000" y="12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Shape 167"/>
            <p:cNvSpPr/>
            <p:nvPr/>
          </p:nvSpPr>
          <p:spPr>
            <a:xfrm>
              <a:off x="6997700" y="3465512"/>
              <a:ext cx="32226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59368"/>
                  </a:moveTo>
                  <a:cubicBezTo>
                    <a:pt x="45333" y="59368"/>
                    <a:pt x="45333" y="59368"/>
                    <a:pt x="45333" y="59368"/>
                  </a:cubicBezTo>
                  <a:cubicBezTo>
                    <a:pt x="45333" y="98526"/>
                    <a:pt x="45333" y="98526"/>
                    <a:pt x="45333" y="98526"/>
                  </a:cubicBezTo>
                  <a:cubicBezTo>
                    <a:pt x="45333" y="102315"/>
                    <a:pt x="50666" y="104842"/>
                    <a:pt x="61333" y="104842"/>
                  </a:cubicBezTo>
                  <a:cubicBezTo>
                    <a:pt x="69333" y="104842"/>
                    <a:pt x="74666" y="102315"/>
                    <a:pt x="74666" y="98526"/>
                  </a:cubicBezTo>
                  <a:cubicBezTo>
                    <a:pt x="74666" y="66947"/>
                    <a:pt x="74666" y="66947"/>
                    <a:pt x="74666" y="66947"/>
                  </a:cubicBezTo>
                  <a:cubicBezTo>
                    <a:pt x="120000" y="66947"/>
                    <a:pt x="120000" y="66947"/>
                    <a:pt x="120000" y="66947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101333" y="120000"/>
                    <a:pt x="61333" y="120000"/>
                  </a:cubicBezTo>
                  <a:cubicBezTo>
                    <a:pt x="18666" y="120000"/>
                    <a:pt x="0" y="112421"/>
                    <a:pt x="0" y="98526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18666" y="0"/>
                    <a:pt x="61333" y="0"/>
                  </a:cubicBezTo>
                  <a:cubicBezTo>
                    <a:pt x="101333" y="0"/>
                    <a:pt x="120000" y="6315"/>
                    <a:pt x="120000" y="20210"/>
                  </a:cubicBezTo>
                  <a:lnTo>
                    <a:pt x="120000" y="59368"/>
                  </a:lnTo>
                  <a:close/>
                  <a:moveTo>
                    <a:pt x="74666" y="45473"/>
                  </a:moveTo>
                  <a:cubicBezTo>
                    <a:pt x="74666" y="20210"/>
                    <a:pt x="74666" y="20210"/>
                    <a:pt x="74666" y="20210"/>
                  </a:cubicBezTo>
                  <a:cubicBezTo>
                    <a:pt x="74666" y="15157"/>
                    <a:pt x="69333" y="12631"/>
                    <a:pt x="61333" y="12631"/>
                  </a:cubicBezTo>
                  <a:cubicBezTo>
                    <a:pt x="50666" y="12631"/>
                    <a:pt x="45333" y="15157"/>
                    <a:pt x="45333" y="20210"/>
                  </a:cubicBezTo>
                  <a:cubicBezTo>
                    <a:pt x="45333" y="45473"/>
                    <a:pt x="45333" y="45473"/>
                    <a:pt x="45333" y="45473"/>
                  </a:cubicBezTo>
                  <a:lnTo>
                    <a:pt x="74666" y="454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Shape 168"/>
            <p:cNvSpPr/>
            <p:nvPr/>
          </p:nvSpPr>
          <p:spPr>
            <a:xfrm>
              <a:off x="7354888" y="3465512"/>
              <a:ext cx="330200" cy="6715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45957"/>
                  </a:moveTo>
                  <a:cubicBezTo>
                    <a:pt x="73043" y="45957"/>
                    <a:pt x="73043" y="45957"/>
                    <a:pt x="73043" y="45957"/>
                  </a:cubicBezTo>
                  <a:cubicBezTo>
                    <a:pt x="73043" y="20425"/>
                    <a:pt x="73043" y="20425"/>
                    <a:pt x="73043" y="20425"/>
                  </a:cubicBezTo>
                  <a:cubicBezTo>
                    <a:pt x="73043" y="15319"/>
                    <a:pt x="70434" y="12765"/>
                    <a:pt x="60000" y="12765"/>
                  </a:cubicBezTo>
                  <a:cubicBezTo>
                    <a:pt x="52173" y="12765"/>
                    <a:pt x="46956" y="15319"/>
                    <a:pt x="46956" y="20425"/>
                  </a:cubicBezTo>
                  <a:cubicBezTo>
                    <a:pt x="46956" y="120000"/>
                    <a:pt x="46956" y="120000"/>
                    <a:pt x="46956" y="120000"/>
                  </a:cubicBezTo>
                  <a:cubicBezTo>
                    <a:pt x="0" y="120000"/>
                    <a:pt x="0" y="120000"/>
                    <a:pt x="0" y="1200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956" y="0"/>
                    <a:pt x="46956" y="0"/>
                    <a:pt x="46956" y="0"/>
                  </a:cubicBezTo>
                  <a:cubicBezTo>
                    <a:pt x="46956" y="3829"/>
                    <a:pt x="46956" y="3829"/>
                    <a:pt x="46956" y="3829"/>
                  </a:cubicBezTo>
                  <a:cubicBezTo>
                    <a:pt x="57391" y="1276"/>
                    <a:pt x="67826" y="0"/>
                    <a:pt x="83478" y="0"/>
                  </a:cubicBezTo>
                  <a:cubicBezTo>
                    <a:pt x="93913" y="0"/>
                    <a:pt x="101739" y="1276"/>
                    <a:pt x="109565" y="5106"/>
                  </a:cubicBezTo>
                  <a:cubicBezTo>
                    <a:pt x="117391" y="8936"/>
                    <a:pt x="120000" y="14042"/>
                    <a:pt x="120000" y="20425"/>
                  </a:cubicBezTo>
                  <a:lnTo>
                    <a:pt x="120000" y="459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Shape 169"/>
            <p:cNvSpPr/>
            <p:nvPr/>
          </p:nvSpPr>
          <p:spPr>
            <a:xfrm>
              <a:off x="7713663" y="3465512"/>
              <a:ext cx="328613" cy="67944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79578"/>
                  </a:moveTo>
                  <a:cubicBezTo>
                    <a:pt x="46956" y="79578"/>
                    <a:pt x="46956" y="79578"/>
                    <a:pt x="46956" y="79578"/>
                  </a:cubicBezTo>
                  <a:cubicBezTo>
                    <a:pt x="46956" y="98526"/>
                    <a:pt x="46956" y="98526"/>
                    <a:pt x="46956" y="98526"/>
                  </a:cubicBezTo>
                  <a:cubicBezTo>
                    <a:pt x="46956" y="102315"/>
                    <a:pt x="52173" y="104842"/>
                    <a:pt x="60000" y="104842"/>
                  </a:cubicBezTo>
                  <a:cubicBezTo>
                    <a:pt x="67826" y="104842"/>
                    <a:pt x="73043" y="102315"/>
                    <a:pt x="73043" y="98526"/>
                  </a:cubicBezTo>
                  <a:cubicBezTo>
                    <a:pt x="73043" y="88421"/>
                    <a:pt x="65217" y="77052"/>
                    <a:pt x="46956" y="66947"/>
                  </a:cubicBezTo>
                  <a:cubicBezTo>
                    <a:pt x="28695" y="55578"/>
                    <a:pt x="15652" y="49263"/>
                    <a:pt x="10434" y="46736"/>
                  </a:cubicBezTo>
                  <a:cubicBezTo>
                    <a:pt x="2608" y="42947"/>
                    <a:pt x="0" y="39157"/>
                    <a:pt x="0" y="34105"/>
                  </a:cubicBezTo>
                  <a:cubicBezTo>
                    <a:pt x="0" y="20210"/>
                    <a:pt x="0" y="20210"/>
                    <a:pt x="0" y="20210"/>
                  </a:cubicBezTo>
                  <a:cubicBezTo>
                    <a:pt x="0" y="6315"/>
                    <a:pt x="20869" y="0"/>
                    <a:pt x="60000" y="0"/>
                  </a:cubicBezTo>
                  <a:cubicBezTo>
                    <a:pt x="99130" y="0"/>
                    <a:pt x="120000" y="6315"/>
                    <a:pt x="120000" y="20210"/>
                  </a:cubicBezTo>
                  <a:cubicBezTo>
                    <a:pt x="120000" y="39157"/>
                    <a:pt x="120000" y="39157"/>
                    <a:pt x="120000" y="39157"/>
                  </a:cubicBezTo>
                  <a:cubicBezTo>
                    <a:pt x="73043" y="39157"/>
                    <a:pt x="73043" y="39157"/>
                    <a:pt x="73043" y="39157"/>
                  </a:cubicBezTo>
                  <a:cubicBezTo>
                    <a:pt x="73043" y="20210"/>
                    <a:pt x="73043" y="20210"/>
                    <a:pt x="73043" y="20210"/>
                  </a:cubicBezTo>
                  <a:cubicBezTo>
                    <a:pt x="73043" y="15157"/>
                    <a:pt x="67826" y="12631"/>
                    <a:pt x="60000" y="12631"/>
                  </a:cubicBezTo>
                  <a:cubicBezTo>
                    <a:pt x="52173" y="12631"/>
                    <a:pt x="46956" y="15157"/>
                    <a:pt x="46956" y="20210"/>
                  </a:cubicBezTo>
                  <a:cubicBezTo>
                    <a:pt x="46956" y="27789"/>
                    <a:pt x="49565" y="32842"/>
                    <a:pt x="52173" y="35368"/>
                  </a:cubicBezTo>
                  <a:cubicBezTo>
                    <a:pt x="57391" y="37894"/>
                    <a:pt x="70434" y="44210"/>
                    <a:pt x="88695" y="56842"/>
                  </a:cubicBezTo>
                  <a:cubicBezTo>
                    <a:pt x="109565" y="68210"/>
                    <a:pt x="120000" y="78315"/>
                    <a:pt x="120000" y="84631"/>
                  </a:cubicBezTo>
                  <a:cubicBezTo>
                    <a:pt x="120000" y="98526"/>
                    <a:pt x="120000" y="98526"/>
                    <a:pt x="120000" y="98526"/>
                  </a:cubicBezTo>
                  <a:cubicBezTo>
                    <a:pt x="120000" y="112421"/>
                    <a:pt x="99130" y="120000"/>
                    <a:pt x="60000" y="120000"/>
                  </a:cubicBezTo>
                  <a:cubicBezTo>
                    <a:pt x="20869" y="120000"/>
                    <a:pt x="0" y="112421"/>
                    <a:pt x="0" y="98526"/>
                  </a:cubicBezTo>
                  <a:lnTo>
                    <a:pt x="0" y="795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Shape 170"/>
            <p:cNvSpPr/>
            <p:nvPr/>
          </p:nvSpPr>
          <p:spPr>
            <a:xfrm>
              <a:off x="5610225" y="2684463"/>
              <a:ext cx="128587" cy="6730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Shape 171"/>
            <p:cNvSpPr/>
            <p:nvPr/>
          </p:nvSpPr>
          <p:spPr>
            <a:xfrm>
              <a:off x="5616575" y="3243263"/>
              <a:ext cx="171449" cy="1143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Shape 172"/>
            <p:cNvSpPr/>
            <p:nvPr/>
          </p:nvSpPr>
          <p:spPr>
            <a:xfrm>
              <a:off x="8042275" y="4159250"/>
              <a:ext cx="85724" cy="857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60000"/>
                  </a:moveTo>
                  <a:cubicBezTo>
                    <a:pt x="120000" y="90000"/>
                    <a:pt x="100000" y="120000"/>
                    <a:pt x="60000" y="120000"/>
                  </a:cubicBezTo>
                  <a:cubicBezTo>
                    <a:pt x="30000" y="120000"/>
                    <a:pt x="0" y="90000"/>
                    <a:pt x="0" y="60000"/>
                  </a:cubicBezTo>
                  <a:cubicBezTo>
                    <a:pt x="0" y="20000"/>
                    <a:pt x="30000" y="0"/>
                    <a:pt x="60000" y="0"/>
                  </a:cubicBezTo>
                  <a:cubicBezTo>
                    <a:pt x="100000" y="0"/>
                    <a:pt x="120000" y="20000"/>
                    <a:pt x="120000" y="60000"/>
                  </a:cubicBezTo>
                  <a:close/>
                  <a:moveTo>
                    <a:pt x="10000" y="60000"/>
                  </a:moveTo>
                  <a:cubicBezTo>
                    <a:pt x="10000" y="80000"/>
                    <a:pt x="30000" y="110000"/>
                    <a:pt x="60000" y="110000"/>
                  </a:cubicBezTo>
                  <a:cubicBezTo>
                    <a:pt x="90000" y="110000"/>
                    <a:pt x="110000" y="80000"/>
                    <a:pt x="110000" y="60000"/>
                  </a:cubicBezTo>
                  <a:cubicBezTo>
                    <a:pt x="110000" y="30000"/>
                    <a:pt x="90000" y="10000"/>
                    <a:pt x="60000" y="10000"/>
                  </a:cubicBezTo>
                  <a:cubicBezTo>
                    <a:pt x="30000" y="10000"/>
                    <a:pt x="10000" y="30000"/>
                    <a:pt x="10000" y="60000"/>
                  </a:cubicBezTo>
                  <a:close/>
                  <a:moveTo>
                    <a:pt x="50000" y="90000"/>
                  </a:moveTo>
                  <a:cubicBezTo>
                    <a:pt x="40000" y="90000"/>
                    <a:pt x="40000" y="90000"/>
                    <a:pt x="40000" y="90000"/>
                  </a:cubicBezTo>
                  <a:cubicBezTo>
                    <a:pt x="40000" y="30000"/>
                    <a:pt x="40000" y="30000"/>
                    <a:pt x="40000" y="30000"/>
                  </a:cubicBezTo>
                  <a:cubicBezTo>
                    <a:pt x="40000" y="30000"/>
                    <a:pt x="50000" y="30000"/>
                    <a:pt x="60000" y="30000"/>
                  </a:cubicBezTo>
                  <a:cubicBezTo>
                    <a:pt x="70000" y="30000"/>
                    <a:pt x="80000" y="30000"/>
                    <a:pt x="80000" y="30000"/>
                  </a:cubicBezTo>
                  <a:cubicBezTo>
                    <a:pt x="90000" y="30000"/>
                    <a:pt x="90000" y="40000"/>
                    <a:pt x="90000" y="40000"/>
                  </a:cubicBezTo>
                  <a:cubicBezTo>
                    <a:pt x="90000" y="50000"/>
                    <a:pt x="80000" y="60000"/>
                    <a:pt x="80000" y="60000"/>
                  </a:cubicBezTo>
                  <a:cubicBezTo>
                    <a:pt x="80000" y="60000"/>
                    <a:pt x="80000" y="60000"/>
                    <a:pt x="80000" y="60000"/>
                  </a:cubicBezTo>
                  <a:cubicBezTo>
                    <a:pt x="80000" y="60000"/>
                    <a:pt x="80000" y="70000"/>
                    <a:pt x="90000" y="70000"/>
                  </a:cubicBezTo>
                  <a:cubicBezTo>
                    <a:pt x="90000" y="80000"/>
                    <a:pt x="90000" y="90000"/>
                    <a:pt x="90000" y="90000"/>
                  </a:cubicBezTo>
                  <a:cubicBezTo>
                    <a:pt x="80000" y="90000"/>
                    <a:pt x="80000" y="90000"/>
                    <a:pt x="80000" y="90000"/>
                  </a:cubicBezTo>
                  <a:cubicBezTo>
                    <a:pt x="70000" y="90000"/>
                    <a:pt x="70000" y="80000"/>
                    <a:pt x="70000" y="70000"/>
                  </a:cubicBezTo>
                  <a:cubicBezTo>
                    <a:pt x="70000" y="70000"/>
                    <a:pt x="70000" y="70000"/>
                    <a:pt x="60000" y="70000"/>
                  </a:cubicBezTo>
                  <a:cubicBezTo>
                    <a:pt x="50000" y="70000"/>
                    <a:pt x="50000" y="70000"/>
                    <a:pt x="50000" y="70000"/>
                  </a:cubicBezTo>
                  <a:lnTo>
                    <a:pt x="50000" y="90000"/>
                  </a:lnTo>
                  <a:close/>
                  <a:moveTo>
                    <a:pt x="50000" y="50000"/>
                  </a:moveTo>
                  <a:cubicBezTo>
                    <a:pt x="60000" y="50000"/>
                    <a:pt x="60000" y="50000"/>
                    <a:pt x="60000" y="50000"/>
                  </a:cubicBezTo>
                  <a:cubicBezTo>
                    <a:pt x="70000" y="50000"/>
                    <a:pt x="70000" y="50000"/>
                    <a:pt x="70000" y="50000"/>
                  </a:cubicBezTo>
                  <a:cubicBezTo>
                    <a:pt x="70000" y="40000"/>
                    <a:pt x="70000" y="40000"/>
                    <a:pt x="60000" y="40000"/>
                  </a:cubicBezTo>
                  <a:cubicBezTo>
                    <a:pt x="60000" y="40000"/>
                    <a:pt x="50000" y="40000"/>
                    <a:pt x="50000" y="40000"/>
                  </a:cubicBezTo>
                  <a:lnTo>
                    <a:pt x="50000" y="500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" name="Shape 173"/>
            <p:cNvSpPr/>
            <p:nvPr/>
          </p:nvSpPr>
          <p:spPr>
            <a:xfrm>
              <a:off x="4056062" y="2570163"/>
              <a:ext cx="1166812" cy="19970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263" y="107096"/>
                  </a:moveTo>
                  <a:cubicBezTo>
                    <a:pt x="119263" y="107096"/>
                    <a:pt x="119263" y="105806"/>
                    <a:pt x="116319" y="104946"/>
                  </a:cubicBezTo>
                  <a:cubicBezTo>
                    <a:pt x="111165" y="104086"/>
                    <a:pt x="109693" y="102365"/>
                    <a:pt x="108220" y="101505"/>
                  </a:cubicBezTo>
                  <a:cubicBezTo>
                    <a:pt x="107484" y="101075"/>
                    <a:pt x="105276" y="100215"/>
                    <a:pt x="105276" y="100215"/>
                  </a:cubicBezTo>
                  <a:cubicBezTo>
                    <a:pt x="107484" y="99784"/>
                    <a:pt x="107484" y="99784"/>
                    <a:pt x="107484" y="99784"/>
                  </a:cubicBezTo>
                  <a:cubicBezTo>
                    <a:pt x="107484" y="99784"/>
                    <a:pt x="106748" y="98064"/>
                    <a:pt x="106012" y="96774"/>
                  </a:cubicBezTo>
                  <a:cubicBezTo>
                    <a:pt x="104539" y="95913"/>
                    <a:pt x="105276" y="95053"/>
                    <a:pt x="105276" y="92903"/>
                  </a:cubicBezTo>
                  <a:cubicBezTo>
                    <a:pt x="104539" y="90752"/>
                    <a:pt x="105276" y="89462"/>
                    <a:pt x="105276" y="88172"/>
                  </a:cubicBezTo>
                  <a:cubicBezTo>
                    <a:pt x="105276" y="87311"/>
                    <a:pt x="105276" y="85161"/>
                    <a:pt x="106012" y="82150"/>
                  </a:cubicBezTo>
                  <a:cubicBezTo>
                    <a:pt x="106012" y="79569"/>
                    <a:pt x="109693" y="61075"/>
                    <a:pt x="109693" y="58924"/>
                  </a:cubicBezTo>
                  <a:cubicBezTo>
                    <a:pt x="109693" y="57204"/>
                    <a:pt x="109693" y="52903"/>
                    <a:pt x="109693" y="52903"/>
                  </a:cubicBezTo>
                  <a:cubicBezTo>
                    <a:pt x="109693" y="52903"/>
                    <a:pt x="111901" y="52903"/>
                    <a:pt x="113374" y="53333"/>
                  </a:cubicBezTo>
                  <a:cubicBezTo>
                    <a:pt x="114110" y="53763"/>
                    <a:pt x="114846" y="54193"/>
                    <a:pt x="115582" y="51612"/>
                  </a:cubicBezTo>
                  <a:cubicBezTo>
                    <a:pt x="115582" y="47311"/>
                    <a:pt x="109693" y="41290"/>
                    <a:pt x="109693" y="40000"/>
                  </a:cubicBezTo>
                  <a:cubicBezTo>
                    <a:pt x="108957" y="39139"/>
                    <a:pt x="111165" y="39569"/>
                    <a:pt x="110429" y="38279"/>
                  </a:cubicBezTo>
                  <a:cubicBezTo>
                    <a:pt x="108957" y="36989"/>
                    <a:pt x="110429" y="36559"/>
                    <a:pt x="110429" y="33548"/>
                  </a:cubicBezTo>
                  <a:cubicBezTo>
                    <a:pt x="110429" y="30967"/>
                    <a:pt x="108957" y="28817"/>
                    <a:pt x="109693" y="25376"/>
                  </a:cubicBezTo>
                  <a:cubicBezTo>
                    <a:pt x="111165" y="21935"/>
                    <a:pt x="108957" y="16344"/>
                    <a:pt x="108957" y="14193"/>
                  </a:cubicBezTo>
                  <a:cubicBezTo>
                    <a:pt x="108957" y="12473"/>
                    <a:pt x="107484" y="12903"/>
                    <a:pt x="104539" y="12473"/>
                  </a:cubicBezTo>
                  <a:cubicBezTo>
                    <a:pt x="101595" y="11612"/>
                    <a:pt x="94969" y="9892"/>
                    <a:pt x="94233" y="9032"/>
                  </a:cubicBezTo>
                  <a:cubicBezTo>
                    <a:pt x="94233" y="8172"/>
                    <a:pt x="92760" y="7311"/>
                    <a:pt x="92760" y="7311"/>
                  </a:cubicBezTo>
                  <a:cubicBezTo>
                    <a:pt x="92760" y="7311"/>
                    <a:pt x="92024" y="9892"/>
                    <a:pt x="90552" y="10752"/>
                  </a:cubicBezTo>
                  <a:cubicBezTo>
                    <a:pt x="89815" y="11182"/>
                    <a:pt x="89079" y="10322"/>
                    <a:pt x="87607" y="9892"/>
                  </a:cubicBezTo>
                  <a:cubicBezTo>
                    <a:pt x="86871" y="9032"/>
                    <a:pt x="81717" y="7311"/>
                    <a:pt x="79509" y="6451"/>
                  </a:cubicBezTo>
                  <a:cubicBezTo>
                    <a:pt x="77300" y="5161"/>
                    <a:pt x="78773" y="6451"/>
                    <a:pt x="78773" y="6451"/>
                  </a:cubicBezTo>
                  <a:cubicBezTo>
                    <a:pt x="78773" y="6451"/>
                    <a:pt x="77300" y="7741"/>
                    <a:pt x="74355" y="9032"/>
                  </a:cubicBezTo>
                  <a:cubicBezTo>
                    <a:pt x="72147" y="10322"/>
                    <a:pt x="61104" y="12473"/>
                    <a:pt x="61104" y="12473"/>
                  </a:cubicBezTo>
                  <a:cubicBezTo>
                    <a:pt x="60368" y="12473"/>
                    <a:pt x="60368" y="12473"/>
                    <a:pt x="60368" y="12903"/>
                  </a:cubicBezTo>
                  <a:cubicBezTo>
                    <a:pt x="58895" y="11612"/>
                    <a:pt x="57423" y="10752"/>
                    <a:pt x="55950" y="10322"/>
                  </a:cubicBezTo>
                  <a:cubicBezTo>
                    <a:pt x="54478" y="9462"/>
                    <a:pt x="53742" y="8602"/>
                    <a:pt x="53742" y="8602"/>
                  </a:cubicBezTo>
                  <a:cubicBezTo>
                    <a:pt x="53742" y="8602"/>
                    <a:pt x="53742" y="5591"/>
                    <a:pt x="50061" y="5161"/>
                  </a:cubicBezTo>
                  <a:cubicBezTo>
                    <a:pt x="49325" y="6881"/>
                    <a:pt x="49325" y="9462"/>
                    <a:pt x="49325" y="9462"/>
                  </a:cubicBezTo>
                  <a:cubicBezTo>
                    <a:pt x="47116" y="11182"/>
                    <a:pt x="47116" y="11182"/>
                    <a:pt x="47116" y="11182"/>
                  </a:cubicBezTo>
                  <a:cubicBezTo>
                    <a:pt x="46380" y="8602"/>
                    <a:pt x="46380" y="8602"/>
                    <a:pt x="46380" y="8602"/>
                  </a:cubicBezTo>
                  <a:cubicBezTo>
                    <a:pt x="46380" y="8602"/>
                    <a:pt x="44907" y="7311"/>
                    <a:pt x="43435" y="6451"/>
                  </a:cubicBezTo>
                  <a:cubicBezTo>
                    <a:pt x="42699" y="5591"/>
                    <a:pt x="37546" y="3010"/>
                    <a:pt x="37546" y="860"/>
                  </a:cubicBezTo>
                  <a:cubicBezTo>
                    <a:pt x="37546" y="860"/>
                    <a:pt x="36073" y="0"/>
                    <a:pt x="35337" y="860"/>
                  </a:cubicBezTo>
                  <a:cubicBezTo>
                    <a:pt x="33865" y="1720"/>
                    <a:pt x="33865" y="2150"/>
                    <a:pt x="27975" y="3010"/>
                  </a:cubicBezTo>
                  <a:cubicBezTo>
                    <a:pt x="21349" y="3440"/>
                    <a:pt x="16196" y="3440"/>
                    <a:pt x="12515" y="8602"/>
                  </a:cubicBezTo>
                  <a:cubicBezTo>
                    <a:pt x="8098" y="13763"/>
                    <a:pt x="3680" y="18064"/>
                    <a:pt x="3680" y="21935"/>
                  </a:cubicBezTo>
                  <a:cubicBezTo>
                    <a:pt x="3680" y="25376"/>
                    <a:pt x="2208" y="25376"/>
                    <a:pt x="1472" y="27096"/>
                  </a:cubicBezTo>
                  <a:cubicBezTo>
                    <a:pt x="0" y="29247"/>
                    <a:pt x="0" y="30537"/>
                    <a:pt x="2208" y="35268"/>
                  </a:cubicBezTo>
                  <a:cubicBezTo>
                    <a:pt x="4417" y="39569"/>
                    <a:pt x="5889" y="48172"/>
                    <a:pt x="10306" y="49892"/>
                  </a:cubicBezTo>
                  <a:cubicBezTo>
                    <a:pt x="11042" y="50322"/>
                    <a:pt x="11779" y="51182"/>
                    <a:pt x="13251" y="51182"/>
                  </a:cubicBezTo>
                  <a:cubicBezTo>
                    <a:pt x="14723" y="51182"/>
                    <a:pt x="18404" y="48172"/>
                    <a:pt x="21349" y="46451"/>
                  </a:cubicBezTo>
                  <a:cubicBezTo>
                    <a:pt x="24294" y="46451"/>
                    <a:pt x="25030" y="46021"/>
                    <a:pt x="28711" y="47741"/>
                  </a:cubicBezTo>
                  <a:cubicBezTo>
                    <a:pt x="32392" y="49892"/>
                    <a:pt x="32392" y="49032"/>
                    <a:pt x="32392" y="49032"/>
                  </a:cubicBezTo>
                  <a:cubicBezTo>
                    <a:pt x="32392" y="49032"/>
                    <a:pt x="33128" y="49892"/>
                    <a:pt x="31656" y="50322"/>
                  </a:cubicBezTo>
                  <a:cubicBezTo>
                    <a:pt x="29447" y="50322"/>
                    <a:pt x="27975" y="49462"/>
                    <a:pt x="26503" y="49032"/>
                  </a:cubicBezTo>
                  <a:cubicBezTo>
                    <a:pt x="25030" y="48602"/>
                    <a:pt x="22085" y="51182"/>
                    <a:pt x="19877" y="53333"/>
                  </a:cubicBezTo>
                  <a:cubicBezTo>
                    <a:pt x="17668" y="55053"/>
                    <a:pt x="18404" y="55483"/>
                    <a:pt x="17668" y="58064"/>
                  </a:cubicBezTo>
                  <a:cubicBezTo>
                    <a:pt x="16932" y="60645"/>
                    <a:pt x="14723" y="64086"/>
                    <a:pt x="13987" y="68387"/>
                  </a:cubicBezTo>
                  <a:cubicBezTo>
                    <a:pt x="13251" y="72688"/>
                    <a:pt x="10306" y="100215"/>
                    <a:pt x="8834" y="103225"/>
                  </a:cubicBezTo>
                  <a:cubicBezTo>
                    <a:pt x="7361" y="105806"/>
                    <a:pt x="5889" y="107526"/>
                    <a:pt x="5889" y="107526"/>
                  </a:cubicBezTo>
                  <a:cubicBezTo>
                    <a:pt x="8834" y="109247"/>
                    <a:pt x="8834" y="109247"/>
                    <a:pt x="8834" y="109247"/>
                  </a:cubicBezTo>
                  <a:cubicBezTo>
                    <a:pt x="8834" y="113118"/>
                    <a:pt x="8834" y="113118"/>
                    <a:pt x="8834" y="113118"/>
                  </a:cubicBezTo>
                  <a:cubicBezTo>
                    <a:pt x="8834" y="113118"/>
                    <a:pt x="9570" y="113118"/>
                    <a:pt x="9570" y="113978"/>
                  </a:cubicBezTo>
                  <a:cubicBezTo>
                    <a:pt x="9570" y="114408"/>
                    <a:pt x="7361" y="116129"/>
                    <a:pt x="10306" y="117419"/>
                  </a:cubicBezTo>
                  <a:cubicBezTo>
                    <a:pt x="13987" y="119139"/>
                    <a:pt x="23558" y="120000"/>
                    <a:pt x="24294" y="117849"/>
                  </a:cubicBezTo>
                  <a:cubicBezTo>
                    <a:pt x="25030" y="115698"/>
                    <a:pt x="22822" y="113548"/>
                    <a:pt x="22085" y="112688"/>
                  </a:cubicBezTo>
                  <a:cubicBezTo>
                    <a:pt x="21349" y="111827"/>
                    <a:pt x="20613" y="110107"/>
                    <a:pt x="20613" y="110107"/>
                  </a:cubicBezTo>
                  <a:cubicBezTo>
                    <a:pt x="22822" y="109677"/>
                    <a:pt x="22822" y="109677"/>
                    <a:pt x="22822" y="109677"/>
                  </a:cubicBezTo>
                  <a:cubicBezTo>
                    <a:pt x="22822" y="109677"/>
                    <a:pt x="23558" y="106236"/>
                    <a:pt x="24294" y="105376"/>
                  </a:cubicBezTo>
                  <a:cubicBezTo>
                    <a:pt x="25766" y="104086"/>
                    <a:pt x="26503" y="101075"/>
                    <a:pt x="26503" y="97634"/>
                  </a:cubicBezTo>
                  <a:cubicBezTo>
                    <a:pt x="26503" y="94193"/>
                    <a:pt x="28711" y="87311"/>
                    <a:pt x="30184" y="84731"/>
                  </a:cubicBezTo>
                  <a:cubicBezTo>
                    <a:pt x="30920" y="81720"/>
                    <a:pt x="35337" y="76559"/>
                    <a:pt x="35337" y="73978"/>
                  </a:cubicBezTo>
                  <a:cubicBezTo>
                    <a:pt x="35337" y="71827"/>
                    <a:pt x="36073" y="70537"/>
                    <a:pt x="37546" y="68387"/>
                  </a:cubicBezTo>
                  <a:cubicBezTo>
                    <a:pt x="38282" y="66236"/>
                    <a:pt x="39018" y="64946"/>
                    <a:pt x="40490" y="63655"/>
                  </a:cubicBezTo>
                  <a:cubicBezTo>
                    <a:pt x="41226" y="65806"/>
                    <a:pt x="40490" y="66666"/>
                    <a:pt x="41226" y="68817"/>
                  </a:cubicBezTo>
                  <a:cubicBezTo>
                    <a:pt x="41226" y="71397"/>
                    <a:pt x="41963" y="77419"/>
                    <a:pt x="42699" y="78709"/>
                  </a:cubicBezTo>
                  <a:cubicBezTo>
                    <a:pt x="43435" y="80430"/>
                    <a:pt x="42699" y="82150"/>
                    <a:pt x="41963" y="84301"/>
                  </a:cubicBezTo>
                  <a:cubicBezTo>
                    <a:pt x="41963" y="86451"/>
                    <a:pt x="44171" y="91612"/>
                    <a:pt x="44171" y="93333"/>
                  </a:cubicBezTo>
                  <a:cubicBezTo>
                    <a:pt x="43435" y="95483"/>
                    <a:pt x="42699" y="101505"/>
                    <a:pt x="42699" y="102795"/>
                  </a:cubicBezTo>
                  <a:cubicBezTo>
                    <a:pt x="42699" y="104516"/>
                    <a:pt x="41963" y="106666"/>
                    <a:pt x="41963" y="106666"/>
                  </a:cubicBezTo>
                  <a:cubicBezTo>
                    <a:pt x="41963" y="107096"/>
                    <a:pt x="41963" y="107096"/>
                    <a:pt x="41963" y="107096"/>
                  </a:cubicBezTo>
                  <a:cubicBezTo>
                    <a:pt x="41963" y="109247"/>
                    <a:pt x="41963" y="109247"/>
                    <a:pt x="41963" y="109247"/>
                  </a:cubicBezTo>
                  <a:cubicBezTo>
                    <a:pt x="41226" y="109677"/>
                    <a:pt x="41226" y="109677"/>
                    <a:pt x="41226" y="109677"/>
                  </a:cubicBezTo>
                  <a:cubicBezTo>
                    <a:pt x="41226" y="111397"/>
                    <a:pt x="41226" y="111397"/>
                    <a:pt x="41226" y="111397"/>
                  </a:cubicBezTo>
                  <a:cubicBezTo>
                    <a:pt x="41226" y="111397"/>
                    <a:pt x="44907" y="112688"/>
                    <a:pt x="50061" y="112688"/>
                  </a:cubicBezTo>
                  <a:cubicBezTo>
                    <a:pt x="50797" y="112688"/>
                    <a:pt x="51533" y="112258"/>
                    <a:pt x="51533" y="112258"/>
                  </a:cubicBezTo>
                  <a:cubicBezTo>
                    <a:pt x="51533" y="112258"/>
                    <a:pt x="52269" y="111827"/>
                    <a:pt x="55950" y="113548"/>
                  </a:cubicBezTo>
                  <a:cubicBezTo>
                    <a:pt x="60368" y="115268"/>
                    <a:pt x="64785" y="116129"/>
                    <a:pt x="67730" y="116129"/>
                  </a:cubicBezTo>
                  <a:cubicBezTo>
                    <a:pt x="71411" y="115698"/>
                    <a:pt x="71411" y="115268"/>
                    <a:pt x="71411" y="115268"/>
                  </a:cubicBezTo>
                  <a:cubicBezTo>
                    <a:pt x="71411" y="113978"/>
                    <a:pt x="71411" y="113978"/>
                    <a:pt x="71411" y="113978"/>
                  </a:cubicBezTo>
                  <a:cubicBezTo>
                    <a:pt x="71411" y="113978"/>
                    <a:pt x="71411" y="112688"/>
                    <a:pt x="65521" y="110107"/>
                  </a:cubicBezTo>
                  <a:cubicBezTo>
                    <a:pt x="60368" y="107956"/>
                    <a:pt x="59631" y="106666"/>
                    <a:pt x="60368" y="106666"/>
                  </a:cubicBezTo>
                  <a:cubicBezTo>
                    <a:pt x="61104" y="106666"/>
                    <a:pt x="61104" y="106666"/>
                    <a:pt x="61104" y="106666"/>
                  </a:cubicBezTo>
                  <a:cubicBezTo>
                    <a:pt x="61104" y="106666"/>
                    <a:pt x="59631" y="103655"/>
                    <a:pt x="59631" y="101935"/>
                  </a:cubicBezTo>
                  <a:cubicBezTo>
                    <a:pt x="59631" y="100645"/>
                    <a:pt x="60368" y="93333"/>
                    <a:pt x="60368" y="90752"/>
                  </a:cubicBezTo>
                  <a:cubicBezTo>
                    <a:pt x="61104" y="88602"/>
                    <a:pt x="61104" y="80430"/>
                    <a:pt x="62576" y="75268"/>
                  </a:cubicBezTo>
                  <a:cubicBezTo>
                    <a:pt x="63312" y="70537"/>
                    <a:pt x="63312" y="64946"/>
                    <a:pt x="64049" y="63225"/>
                  </a:cubicBezTo>
                  <a:cubicBezTo>
                    <a:pt x="64049" y="63225"/>
                    <a:pt x="64049" y="61075"/>
                    <a:pt x="63312" y="58494"/>
                  </a:cubicBezTo>
                  <a:cubicBezTo>
                    <a:pt x="64049" y="58924"/>
                    <a:pt x="64049" y="59354"/>
                    <a:pt x="64049" y="59354"/>
                  </a:cubicBezTo>
                  <a:cubicBezTo>
                    <a:pt x="74355" y="58494"/>
                    <a:pt x="74355" y="58494"/>
                    <a:pt x="74355" y="58494"/>
                  </a:cubicBezTo>
                  <a:cubicBezTo>
                    <a:pt x="74355" y="58494"/>
                    <a:pt x="75828" y="60645"/>
                    <a:pt x="75828" y="61505"/>
                  </a:cubicBezTo>
                  <a:cubicBezTo>
                    <a:pt x="76564" y="62795"/>
                    <a:pt x="77300" y="63655"/>
                    <a:pt x="76564" y="64086"/>
                  </a:cubicBezTo>
                  <a:cubicBezTo>
                    <a:pt x="75828" y="64516"/>
                    <a:pt x="73619" y="61935"/>
                    <a:pt x="73619" y="61505"/>
                  </a:cubicBezTo>
                  <a:cubicBezTo>
                    <a:pt x="72883" y="62365"/>
                    <a:pt x="74355" y="63655"/>
                    <a:pt x="74355" y="64086"/>
                  </a:cubicBezTo>
                  <a:cubicBezTo>
                    <a:pt x="75092" y="64946"/>
                    <a:pt x="75092" y="66236"/>
                    <a:pt x="73619" y="65806"/>
                  </a:cubicBezTo>
                  <a:cubicBezTo>
                    <a:pt x="72883" y="65376"/>
                    <a:pt x="72883" y="65376"/>
                    <a:pt x="72147" y="65806"/>
                  </a:cubicBezTo>
                  <a:cubicBezTo>
                    <a:pt x="71411" y="66236"/>
                    <a:pt x="66993" y="65376"/>
                    <a:pt x="66993" y="65376"/>
                  </a:cubicBezTo>
                  <a:cubicBezTo>
                    <a:pt x="66993" y="65376"/>
                    <a:pt x="67730" y="71397"/>
                    <a:pt x="67730" y="73118"/>
                  </a:cubicBezTo>
                  <a:cubicBezTo>
                    <a:pt x="67730" y="74838"/>
                    <a:pt x="69202" y="85591"/>
                    <a:pt x="68466" y="89032"/>
                  </a:cubicBezTo>
                  <a:cubicBezTo>
                    <a:pt x="67730" y="92473"/>
                    <a:pt x="69938" y="102795"/>
                    <a:pt x="69938" y="103655"/>
                  </a:cubicBezTo>
                  <a:cubicBezTo>
                    <a:pt x="69938" y="104946"/>
                    <a:pt x="74355" y="104946"/>
                    <a:pt x="74355" y="104946"/>
                  </a:cubicBezTo>
                  <a:cubicBezTo>
                    <a:pt x="74355" y="104946"/>
                    <a:pt x="73619" y="106236"/>
                    <a:pt x="73619" y="107956"/>
                  </a:cubicBezTo>
                  <a:cubicBezTo>
                    <a:pt x="73619" y="108387"/>
                    <a:pt x="72883" y="109677"/>
                    <a:pt x="73619" y="110967"/>
                  </a:cubicBezTo>
                  <a:cubicBezTo>
                    <a:pt x="74355" y="111827"/>
                    <a:pt x="76564" y="113118"/>
                    <a:pt x="81717" y="113548"/>
                  </a:cubicBezTo>
                  <a:cubicBezTo>
                    <a:pt x="82453" y="113548"/>
                    <a:pt x="85398" y="112688"/>
                    <a:pt x="86134" y="111827"/>
                  </a:cubicBezTo>
                  <a:cubicBezTo>
                    <a:pt x="86871" y="110537"/>
                    <a:pt x="86134" y="110107"/>
                    <a:pt x="86134" y="108817"/>
                  </a:cubicBezTo>
                  <a:cubicBezTo>
                    <a:pt x="85398" y="107526"/>
                    <a:pt x="84662" y="105376"/>
                    <a:pt x="84662" y="104946"/>
                  </a:cubicBezTo>
                  <a:cubicBezTo>
                    <a:pt x="86134" y="104516"/>
                    <a:pt x="85398" y="103655"/>
                    <a:pt x="85398" y="103655"/>
                  </a:cubicBezTo>
                  <a:cubicBezTo>
                    <a:pt x="85398" y="103655"/>
                    <a:pt x="86134" y="100215"/>
                    <a:pt x="85398" y="98924"/>
                  </a:cubicBezTo>
                  <a:cubicBezTo>
                    <a:pt x="84662" y="97204"/>
                    <a:pt x="86134" y="93333"/>
                    <a:pt x="85398" y="92043"/>
                  </a:cubicBezTo>
                  <a:cubicBezTo>
                    <a:pt x="84662" y="90322"/>
                    <a:pt x="83926" y="90322"/>
                    <a:pt x="84662" y="89032"/>
                  </a:cubicBezTo>
                  <a:cubicBezTo>
                    <a:pt x="85398" y="88172"/>
                    <a:pt x="84662" y="86451"/>
                    <a:pt x="85398" y="84301"/>
                  </a:cubicBezTo>
                  <a:cubicBezTo>
                    <a:pt x="86134" y="81720"/>
                    <a:pt x="86871" y="75698"/>
                    <a:pt x="87607" y="73118"/>
                  </a:cubicBezTo>
                  <a:cubicBezTo>
                    <a:pt x="89079" y="70537"/>
                    <a:pt x="87607" y="69677"/>
                    <a:pt x="89079" y="68387"/>
                  </a:cubicBezTo>
                  <a:cubicBezTo>
                    <a:pt x="89815" y="69677"/>
                    <a:pt x="90552" y="79139"/>
                    <a:pt x="90552" y="81720"/>
                  </a:cubicBezTo>
                  <a:cubicBezTo>
                    <a:pt x="89815" y="83870"/>
                    <a:pt x="91288" y="90322"/>
                    <a:pt x="92024" y="92903"/>
                  </a:cubicBezTo>
                  <a:cubicBezTo>
                    <a:pt x="92760" y="95483"/>
                    <a:pt x="92760" y="101935"/>
                    <a:pt x="92760" y="101935"/>
                  </a:cubicBezTo>
                  <a:cubicBezTo>
                    <a:pt x="94233" y="101935"/>
                    <a:pt x="94233" y="101935"/>
                    <a:pt x="94233" y="101935"/>
                  </a:cubicBezTo>
                  <a:cubicBezTo>
                    <a:pt x="93496" y="104516"/>
                    <a:pt x="93496" y="104516"/>
                    <a:pt x="93496" y="104516"/>
                  </a:cubicBezTo>
                  <a:cubicBezTo>
                    <a:pt x="101595" y="106236"/>
                    <a:pt x="101595" y="106236"/>
                    <a:pt x="101595" y="106236"/>
                  </a:cubicBezTo>
                  <a:cubicBezTo>
                    <a:pt x="101595" y="106236"/>
                    <a:pt x="102331" y="105806"/>
                    <a:pt x="104539" y="107096"/>
                  </a:cubicBezTo>
                  <a:cubicBezTo>
                    <a:pt x="109693" y="109247"/>
                    <a:pt x="117055" y="109677"/>
                    <a:pt x="118527" y="109247"/>
                  </a:cubicBezTo>
                  <a:cubicBezTo>
                    <a:pt x="120000" y="109247"/>
                    <a:pt x="119263" y="107096"/>
                    <a:pt x="119263" y="1070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Shape 174"/>
            <p:cNvSpPr/>
            <p:nvPr/>
          </p:nvSpPr>
          <p:spPr>
            <a:xfrm>
              <a:off x="4392612" y="2305050"/>
              <a:ext cx="250825" cy="2651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857" y="103783"/>
                  </a:moveTo>
                  <a:cubicBezTo>
                    <a:pt x="6857" y="110270"/>
                    <a:pt x="13714" y="120000"/>
                    <a:pt x="13714" y="120000"/>
                  </a:cubicBezTo>
                  <a:cubicBezTo>
                    <a:pt x="13714" y="94054"/>
                    <a:pt x="13714" y="94054"/>
                    <a:pt x="13714" y="94054"/>
                  </a:cubicBezTo>
                  <a:cubicBezTo>
                    <a:pt x="13714" y="94054"/>
                    <a:pt x="13714" y="97297"/>
                    <a:pt x="6857" y="94054"/>
                  </a:cubicBezTo>
                  <a:cubicBezTo>
                    <a:pt x="0" y="90810"/>
                    <a:pt x="3428" y="64864"/>
                    <a:pt x="10285" y="68108"/>
                  </a:cubicBezTo>
                  <a:cubicBezTo>
                    <a:pt x="17142" y="68108"/>
                    <a:pt x="20571" y="74594"/>
                    <a:pt x="20571" y="74594"/>
                  </a:cubicBezTo>
                  <a:cubicBezTo>
                    <a:pt x="20571" y="74594"/>
                    <a:pt x="20571" y="68108"/>
                    <a:pt x="20571" y="61621"/>
                  </a:cubicBezTo>
                  <a:cubicBezTo>
                    <a:pt x="20571" y="58378"/>
                    <a:pt x="34285" y="45405"/>
                    <a:pt x="34285" y="42162"/>
                  </a:cubicBezTo>
                  <a:cubicBezTo>
                    <a:pt x="37714" y="38918"/>
                    <a:pt x="37714" y="32432"/>
                    <a:pt x="44571" y="29189"/>
                  </a:cubicBezTo>
                  <a:cubicBezTo>
                    <a:pt x="75428" y="12972"/>
                    <a:pt x="99428" y="32432"/>
                    <a:pt x="106285" y="42162"/>
                  </a:cubicBezTo>
                  <a:cubicBezTo>
                    <a:pt x="116571" y="51891"/>
                    <a:pt x="102857" y="97297"/>
                    <a:pt x="106285" y="94054"/>
                  </a:cubicBezTo>
                  <a:cubicBezTo>
                    <a:pt x="106285" y="90810"/>
                    <a:pt x="113142" y="87567"/>
                    <a:pt x="113142" y="77837"/>
                  </a:cubicBezTo>
                  <a:cubicBezTo>
                    <a:pt x="116571" y="71351"/>
                    <a:pt x="116571" y="51891"/>
                    <a:pt x="116571" y="45405"/>
                  </a:cubicBezTo>
                  <a:cubicBezTo>
                    <a:pt x="116571" y="38918"/>
                    <a:pt x="120000" y="32432"/>
                    <a:pt x="116571" y="25945"/>
                  </a:cubicBezTo>
                  <a:cubicBezTo>
                    <a:pt x="113142" y="19459"/>
                    <a:pt x="102857" y="16216"/>
                    <a:pt x="99428" y="12972"/>
                  </a:cubicBezTo>
                  <a:cubicBezTo>
                    <a:pt x="96000" y="9729"/>
                    <a:pt x="89142" y="9729"/>
                    <a:pt x="85714" y="9729"/>
                  </a:cubicBezTo>
                  <a:cubicBezTo>
                    <a:pt x="82285" y="9729"/>
                    <a:pt x="78857" y="19459"/>
                    <a:pt x="78857" y="12972"/>
                  </a:cubicBezTo>
                  <a:cubicBezTo>
                    <a:pt x="78857" y="6486"/>
                    <a:pt x="72000" y="0"/>
                    <a:pt x="72000" y="0"/>
                  </a:cubicBezTo>
                  <a:cubicBezTo>
                    <a:pt x="72000" y="3243"/>
                    <a:pt x="68571" y="9729"/>
                    <a:pt x="68571" y="9729"/>
                  </a:cubicBezTo>
                  <a:cubicBezTo>
                    <a:pt x="68571" y="9729"/>
                    <a:pt x="68571" y="3243"/>
                    <a:pt x="65142" y="6486"/>
                  </a:cubicBezTo>
                  <a:cubicBezTo>
                    <a:pt x="61714" y="9729"/>
                    <a:pt x="48000" y="9729"/>
                    <a:pt x="48000" y="12972"/>
                  </a:cubicBezTo>
                  <a:cubicBezTo>
                    <a:pt x="44571" y="12972"/>
                    <a:pt x="41142" y="9729"/>
                    <a:pt x="34285" y="12972"/>
                  </a:cubicBezTo>
                  <a:cubicBezTo>
                    <a:pt x="24000" y="19459"/>
                    <a:pt x="17142" y="29189"/>
                    <a:pt x="13714" y="32432"/>
                  </a:cubicBezTo>
                  <a:cubicBezTo>
                    <a:pt x="10285" y="35675"/>
                    <a:pt x="13714" y="35675"/>
                    <a:pt x="10285" y="38918"/>
                  </a:cubicBezTo>
                  <a:cubicBezTo>
                    <a:pt x="10285" y="42162"/>
                    <a:pt x="6857" y="48648"/>
                    <a:pt x="6857" y="48648"/>
                  </a:cubicBezTo>
                  <a:cubicBezTo>
                    <a:pt x="6857" y="51891"/>
                    <a:pt x="3428" y="61621"/>
                    <a:pt x="3428" y="71351"/>
                  </a:cubicBezTo>
                  <a:cubicBezTo>
                    <a:pt x="0" y="77837"/>
                    <a:pt x="3428" y="100540"/>
                    <a:pt x="3428" y="100540"/>
                  </a:cubicBezTo>
                  <a:cubicBezTo>
                    <a:pt x="3428" y="100540"/>
                    <a:pt x="3428" y="97297"/>
                    <a:pt x="6857" y="1037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Shape 175"/>
            <p:cNvSpPr/>
            <p:nvPr/>
          </p:nvSpPr>
          <p:spPr>
            <a:xfrm>
              <a:off x="4779962" y="2398713"/>
              <a:ext cx="206374" cy="19208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6551" y="120000"/>
                  </a:moveTo>
                  <a:cubicBezTo>
                    <a:pt x="20689" y="111111"/>
                    <a:pt x="16551" y="93333"/>
                    <a:pt x="16551" y="88888"/>
                  </a:cubicBezTo>
                  <a:cubicBezTo>
                    <a:pt x="16551" y="80000"/>
                    <a:pt x="20689" y="80000"/>
                    <a:pt x="20689" y="66666"/>
                  </a:cubicBezTo>
                  <a:cubicBezTo>
                    <a:pt x="20689" y="57777"/>
                    <a:pt x="20689" y="57777"/>
                    <a:pt x="28965" y="44444"/>
                  </a:cubicBezTo>
                  <a:cubicBezTo>
                    <a:pt x="33103" y="31111"/>
                    <a:pt x="57931" y="31111"/>
                    <a:pt x="74482" y="31111"/>
                  </a:cubicBezTo>
                  <a:cubicBezTo>
                    <a:pt x="91034" y="31111"/>
                    <a:pt x="99310" y="40000"/>
                    <a:pt x="103448" y="44444"/>
                  </a:cubicBezTo>
                  <a:cubicBezTo>
                    <a:pt x="103448" y="48888"/>
                    <a:pt x="111724" y="71111"/>
                    <a:pt x="107586" y="93333"/>
                  </a:cubicBezTo>
                  <a:cubicBezTo>
                    <a:pt x="103448" y="115555"/>
                    <a:pt x="111724" y="111111"/>
                    <a:pt x="111724" y="111111"/>
                  </a:cubicBezTo>
                  <a:cubicBezTo>
                    <a:pt x="111724" y="111111"/>
                    <a:pt x="111724" y="102222"/>
                    <a:pt x="115862" y="97777"/>
                  </a:cubicBezTo>
                  <a:cubicBezTo>
                    <a:pt x="120000" y="84444"/>
                    <a:pt x="115862" y="62222"/>
                    <a:pt x="111724" y="48888"/>
                  </a:cubicBezTo>
                  <a:cubicBezTo>
                    <a:pt x="111724" y="40000"/>
                    <a:pt x="107586" y="31111"/>
                    <a:pt x="107586" y="26666"/>
                  </a:cubicBezTo>
                  <a:cubicBezTo>
                    <a:pt x="103448" y="26666"/>
                    <a:pt x="103448" y="22222"/>
                    <a:pt x="99310" y="17777"/>
                  </a:cubicBezTo>
                  <a:cubicBezTo>
                    <a:pt x="95172" y="8888"/>
                    <a:pt x="78620" y="8888"/>
                    <a:pt x="70344" y="4444"/>
                  </a:cubicBezTo>
                  <a:cubicBezTo>
                    <a:pt x="62068" y="0"/>
                    <a:pt x="45517" y="8888"/>
                    <a:pt x="37241" y="8888"/>
                  </a:cubicBezTo>
                  <a:cubicBezTo>
                    <a:pt x="33103" y="13333"/>
                    <a:pt x="33103" y="17777"/>
                    <a:pt x="20689" y="22222"/>
                  </a:cubicBezTo>
                  <a:cubicBezTo>
                    <a:pt x="12413" y="31111"/>
                    <a:pt x="16551" y="35555"/>
                    <a:pt x="12413" y="40000"/>
                  </a:cubicBezTo>
                  <a:cubicBezTo>
                    <a:pt x="12413" y="48888"/>
                    <a:pt x="12413" y="44444"/>
                    <a:pt x="8275" y="53333"/>
                  </a:cubicBezTo>
                  <a:cubicBezTo>
                    <a:pt x="4137" y="66666"/>
                    <a:pt x="4137" y="62222"/>
                    <a:pt x="4137" y="71111"/>
                  </a:cubicBezTo>
                  <a:cubicBezTo>
                    <a:pt x="0" y="84444"/>
                    <a:pt x="8275" y="106666"/>
                    <a:pt x="12413" y="115555"/>
                  </a:cubicBezTo>
                  <a:cubicBezTo>
                    <a:pt x="12413" y="120000"/>
                    <a:pt x="16551" y="120000"/>
                    <a:pt x="16551" y="1200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799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" name="Title 1"/>
          <p:cNvSpPr>
            <a:spLocks noGrp="1"/>
          </p:cNvSpPr>
          <p:nvPr>
            <p:ph type="ctrTitle"/>
          </p:nvPr>
        </p:nvSpPr>
        <p:spPr>
          <a:xfrm>
            <a:off x="914401" y="1905000"/>
            <a:ext cx="10363200" cy="2079624"/>
          </a:xfrm>
        </p:spPr>
        <p:txBody>
          <a:bodyPr>
            <a:noAutofit/>
          </a:bodyPr>
          <a:lstStyle>
            <a:lvl1pPr>
              <a:defRPr sz="7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955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FC232-557D-4A6D-A1A1-AE2B0A816E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FC0211-06A6-47DF-B210-1F979B319D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252E93-A01C-41DF-A45E-E549448BE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7874B5-26B4-4FE5-9A9B-1D51B77FE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832394-A74C-4747-89E1-695103EB34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3692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1F36AF-3738-4B78-8113-26690C39B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A1BA91-10EB-477D-97E2-862FE17DFD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ABB861-2007-4A29-A5A9-B7916B1BB1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AC2A0B-FF3F-4505-9DC6-EC3AAB6BF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18E573-A3EF-4BC3-9B25-90E28AD4BE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0112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458AB9-2B92-4262-A13A-998F65635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8CD6F-6F53-4294-949D-C270A0E81C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75DA53-44AF-4133-8889-BFA7175F1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D7F87E-0F96-447D-AA15-3754CE01F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E91A4-396F-466B-9BA0-080023CD9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7170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105C8E-35B5-499A-A904-6780F3483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1A94A9-3DA9-48F8-BACC-4F1B818F60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846E01-3625-49D4-9024-408AA158F8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38C062-71FA-4D95-BBBF-0AC3A6A716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3F22F3-6A77-40A4-8D78-1D504E4EF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C07128-F76C-4E28-86D9-E90B94D97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5756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9F0470-1C88-440F-8AC9-039CF34C9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2FE82C-727A-4CC9-809E-05F0838762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6F2250-8914-4627-BF3F-DC8A170E83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62B750-9108-4872-B608-5E2E128904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0B1760-E302-4300-A735-A187D35983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A40CE99-4012-4129-BD2D-B7E01B4A0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3FE44D-60ED-4C43-B99A-45414A83D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34C42A-F175-4188-BC96-F6A67B491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7395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FDDCDF-ACBC-41D3-9515-3BA253FEE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F2F2C6-598D-41F0-BDA3-6B68820CD0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568ED9-BD08-4FEF-9A10-1B2832F26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4E2DDB-0B42-4A11-B77F-8CD5526B16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5563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0BC61B-6FDD-4EFB-B8FE-D1FCBC1DC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8FC216-A98A-4ABC-BFD7-C3DC12035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EB4FA0-1E47-4CF6-A03B-954941442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5942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579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B7636-B3E0-4425-90FC-31C02A5BD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D89ADF-C7D8-4FA0-83D6-CFA48173F7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AE2C1-16E5-4732-95EF-07B23F09F9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D09E9D-D39A-4CA6-BAAD-A356363BE3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00B11F-8515-4FFB-8682-2A355F7A6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39525E-B274-4A42-AA63-EE0FA1D02B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9774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A22A3-0C52-4742-957F-9CA80CBA5C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EAF88B-C42A-4E6E-AE74-B869ADAD378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FB05EE-9AC6-423F-8815-21E28BCBC6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E06B58-7EBF-474C-BFE8-D1CA67241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EF7CC2-1B9B-4B17-B38F-524807DD18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D612EA-644B-4D38-9F69-FA8BB637A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3084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976F0-C610-4062-804C-35F1C3ABA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263FD4-34E1-4AD0-BF94-8EB73BC2D3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029CB-399B-4FDE-978D-3EBF32FA9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ED2AA1-B842-45BA-84EC-3BF456D0E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9CD6A5-E517-4697-B3A2-367F77D04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9036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7351E2C-A7DE-4BE6-93CF-A48FE1F9EC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6DEC0E-89CC-45F2-AB8C-AA103386BA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D75F09-A609-46C2-950E-26F4C4DE19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F8EC48-0C60-4485-BF21-C15FDFDDF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A5D553-9249-44D5-A824-C15C8FE5C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5371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7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9864476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kumimoji="0" lang="pt-PT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Click to add title</a:t>
            </a:r>
            <a:endParaRPr lang="pt-PT"/>
          </a:p>
        </p:txBody>
      </p:sp>
      <p:cxnSp>
        <p:nvCxnSpPr>
          <p:cNvPr id="9" name="Conector reto 49">
            <a:extLst>
              <a:ext uri="{FF2B5EF4-FFF2-40B4-BE49-F238E27FC236}">
                <a16:creationId xmlns:a16="http://schemas.microsoft.com/office/drawing/2014/main" id="{3C477C01-8A65-4353-AE8B-72D14DA150EA}"/>
              </a:ext>
            </a:extLst>
          </p:cNvPr>
          <p:cNvCxnSpPr>
            <a:cxnSpLocks/>
          </p:cNvCxnSpPr>
          <p:nvPr userDrawn="1"/>
        </p:nvCxnSpPr>
        <p:spPr>
          <a:xfrm flipV="1">
            <a:off x="1864777" y="6572757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7">
            <a:extLst>
              <a:ext uri="{FF2B5EF4-FFF2-40B4-BE49-F238E27FC236}">
                <a16:creationId xmlns:a16="http://schemas.microsoft.com/office/drawing/2014/main" id="{91902A91-95BA-4CC1-A2CA-747821EEA790}"/>
              </a:ext>
            </a:extLst>
          </p:cNvPr>
          <p:cNvSpPr/>
          <p:nvPr userDrawn="1"/>
        </p:nvSpPr>
        <p:spPr>
          <a:xfrm>
            <a:off x="407988" y="6613377"/>
            <a:ext cx="1384995" cy="104644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lvl="0" algn="l" defTabSz="914400">
              <a:lnSpc>
                <a:spcPct val="85000"/>
              </a:lnSpc>
              <a:defRPr/>
            </a:pPr>
            <a:r>
              <a:rPr lang="en-US" sz="800" kern="0" dirty="0">
                <a:solidFill>
                  <a:srgbClr val="00458D"/>
                </a:solidFill>
                <a:latin typeface="+mn-lt"/>
                <a:ea typeface="+mn-ea"/>
                <a:cs typeface="Arial" panose="020B0604020202020204" pitchFamily="34" charset="0"/>
              </a:rPr>
              <a:t>Capgemini Insights &amp; Data</a:t>
            </a:r>
          </a:p>
        </p:txBody>
      </p:sp>
      <p:sp>
        <p:nvSpPr>
          <p:cNvPr id="15" name="Retângulo 43">
            <a:extLst>
              <a:ext uri="{FF2B5EF4-FFF2-40B4-BE49-F238E27FC236}">
                <a16:creationId xmlns:a16="http://schemas.microsoft.com/office/drawing/2014/main" id="{092CB540-5106-4E30-B29F-70E96ABC2EB1}"/>
              </a:ext>
            </a:extLst>
          </p:cNvPr>
          <p:cNvSpPr/>
          <p:nvPr userDrawn="1"/>
        </p:nvSpPr>
        <p:spPr>
          <a:xfrm>
            <a:off x="1936572" y="6593777"/>
            <a:ext cx="203902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l"/>
            <a:r>
              <a:rPr lang="en-US" sz="8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9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199110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22982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700977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12523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0380200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#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8987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5711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17743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14">
            <a:extLst>
              <a:ext uri="{FF2B5EF4-FFF2-40B4-BE49-F238E27FC236}">
                <a16:creationId xmlns:a16="http://schemas.microsoft.com/office/drawing/2014/main" id="{C0AE5F4C-D104-434A-B4E4-B2F44A3957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19537" y="1700808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2D632BDF-651D-6746-BEBD-4656158D951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19537" y="3933056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391C9247-1C16-BE49-B1F8-9FAB37C1DB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26361" y="1700808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A9AE2F1-4354-714E-8F1B-4EFD372BA7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6361" y="3933056"/>
            <a:ext cx="1511696" cy="1512168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800"/>
            </a:lvl1pPr>
          </a:lstStyle>
          <a:p>
            <a:r>
              <a:rPr lang="en-US"/>
              <a:t>Click icon to add pictur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896152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89265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6792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10FA3EC-392D-CA48-A524-0D241DF8B7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4EA6A56-1773-F641-A264-6994188EC03C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tx1"/>
          </a:solidFill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AFEB00C-0FAD-024E-9376-C47264371CEE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8" name="Groupe 1">
                <a:extLst>
                  <a:ext uri="{FF2B5EF4-FFF2-40B4-BE49-F238E27FC236}">
                    <a16:creationId xmlns:a16="http://schemas.microsoft.com/office/drawing/2014/main" id="{1687E3D6-2782-2442-9232-E086DDBC9B7A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10" name="Freeform 13">
                  <a:extLst>
                    <a:ext uri="{FF2B5EF4-FFF2-40B4-BE49-F238E27FC236}">
                      <a16:creationId xmlns:a16="http://schemas.microsoft.com/office/drawing/2014/main" id="{4A953DBA-76EC-5441-9A78-9FB09585B97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" name="Freeform 14">
                  <a:extLst>
                    <a:ext uri="{FF2B5EF4-FFF2-40B4-BE49-F238E27FC236}">
                      <a16:creationId xmlns:a16="http://schemas.microsoft.com/office/drawing/2014/main" id="{58BC37CE-6BF4-9F4C-A4D1-6F8AAFD2D20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ECA9DDBC-34F4-2D46-937C-FC1C0BCABAF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598DCA9-2054-0241-B10B-05CA6ADA10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3183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0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9991689" cy="1104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5" name="Graphic 3">
            <a:extLst>
              <a:ext uri="{FF2B5EF4-FFF2-40B4-BE49-F238E27FC236}">
                <a16:creationId xmlns:a16="http://schemas.microsoft.com/office/drawing/2014/main" id="{C4FBFA83-4773-224C-A02F-A9CC35E71D4D}"/>
              </a:ext>
            </a:extLst>
          </p:cNvPr>
          <p:cNvSpPr/>
          <p:nvPr userDrawn="1"/>
        </p:nvSpPr>
        <p:spPr>
          <a:xfrm flipH="1">
            <a:off x="5718335" y="3356992"/>
            <a:ext cx="6473665" cy="3513828"/>
          </a:xfrm>
          <a:custGeom>
            <a:avLst/>
            <a:gdLst>
              <a:gd name="connsiteX0" fmla="*/ 1466682 w 7695555"/>
              <a:gd name="connsiteY0" fmla="*/ 4238695 h 4265636"/>
              <a:gd name="connsiteX1" fmla="*/ 1647754 w 7695555"/>
              <a:gd name="connsiteY1" fmla="*/ 4238695 h 4265636"/>
              <a:gd name="connsiteX2" fmla="*/ 1647754 w 7695555"/>
              <a:gd name="connsiteY2" fmla="*/ 4265636 h 4265636"/>
              <a:gd name="connsiteX3" fmla="*/ 2297350 w 7695555"/>
              <a:gd name="connsiteY3" fmla="*/ 4265636 h 4265636"/>
              <a:gd name="connsiteX4" fmla="*/ 2297350 w 7695555"/>
              <a:gd name="connsiteY4" fmla="*/ 4240940 h 4265636"/>
              <a:gd name="connsiteX5" fmla="*/ 2942418 w 7695555"/>
              <a:gd name="connsiteY5" fmla="*/ 4240940 h 4265636"/>
              <a:gd name="connsiteX6" fmla="*/ 2942418 w 7695555"/>
              <a:gd name="connsiteY6" fmla="*/ 4265636 h 4265636"/>
              <a:gd name="connsiteX7" fmla="*/ 3598804 w 7695555"/>
              <a:gd name="connsiteY7" fmla="*/ 4265636 h 4265636"/>
              <a:gd name="connsiteX8" fmla="*/ 3598804 w 7695555"/>
              <a:gd name="connsiteY8" fmla="*/ 4240940 h 4265636"/>
              <a:gd name="connsiteX9" fmla="*/ 3673496 w 7695555"/>
              <a:gd name="connsiteY9" fmla="*/ 4240940 h 4265636"/>
              <a:gd name="connsiteX10" fmla="*/ 5144705 w 7695555"/>
              <a:gd name="connsiteY10" fmla="*/ 731893 h 4265636"/>
              <a:gd name="connsiteX11" fmla="*/ 6563856 w 7695555"/>
              <a:gd name="connsiteY11" fmla="*/ 4238695 h 4265636"/>
              <a:gd name="connsiteX12" fmla="*/ 6837727 w 7695555"/>
              <a:gd name="connsiteY12" fmla="*/ 4238695 h 4265636"/>
              <a:gd name="connsiteX13" fmla="*/ 6837727 w 7695555"/>
              <a:gd name="connsiteY13" fmla="*/ 4265636 h 4265636"/>
              <a:gd name="connsiteX14" fmla="*/ 7487323 w 7695555"/>
              <a:gd name="connsiteY14" fmla="*/ 4265636 h 4265636"/>
              <a:gd name="connsiteX15" fmla="*/ 7487323 w 7695555"/>
              <a:gd name="connsiteY15" fmla="*/ 4240940 h 4265636"/>
              <a:gd name="connsiteX16" fmla="*/ 7813252 w 7695555"/>
              <a:gd name="connsiteY16" fmla="*/ 4240940 h 4265636"/>
              <a:gd name="connsiteX17" fmla="*/ 7813252 w 7695555"/>
              <a:gd name="connsiteY17" fmla="*/ 4214000 h 4265636"/>
              <a:gd name="connsiteX18" fmla="*/ 5146969 w 7695555"/>
              <a:gd name="connsiteY18" fmla="*/ 0 h 4265636"/>
              <a:gd name="connsiteX19" fmla="*/ 5146969 w 7695555"/>
              <a:gd name="connsiteY19" fmla="*/ 0 h 4265636"/>
              <a:gd name="connsiteX20" fmla="*/ 2571221 w 7695555"/>
              <a:gd name="connsiteY20" fmla="*/ 3524762 h 4265636"/>
              <a:gd name="connsiteX21" fmla="*/ 0 w 7695555"/>
              <a:gd name="connsiteY21" fmla="*/ 0 h 4265636"/>
              <a:gd name="connsiteX22" fmla="*/ 0 w 7695555"/>
              <a:gd name="connsiteY22" fmla="*/ 729648 h 4265636"/>
              <a:gd name="connsiteX23" fmla="*/ 0 w 7695555"/>
              <a:gd name="connsiteY23" fmla="*/ 729648 h 4265636"/>
              <a:gd name="connsiteX24" fmla="*/ 1466682 w 7695555"/>
              <a:gd name="connsiteY24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487323 w 7813252"/>
              <a:gd name="connsiteY13" fmla="*/ 4265636 h 4265636"/>
              <a:gd name="connsiteX14" fmla="*/ 7487323 w 7813252"/>
              <a:gd name="connsiteY14" fmla="*/ 4240940 h 4265636"/>
              <a:gd name="connsiteX15" fmla="*/ 7813252 w 7813252"/>
              <a:gd name="connsiteY15" fmla="*/ 4240940 h 4265636"/>
              <a:gd name="connsiteX16" fmla="*/ 7813252 w 7813252"/>
              <a:gd name="connsiteY16" fmla="*/ 4214000 h 4265636"/>
              <a:gd name="connsiteX17" fmla="*/ 5146969 w 7813252"/>
              <a:gd name="connsiteY17" fmla="*/ 0 h 4265636"/>
              <a:gd name="connsiteX18" fmla="*/ 5146969 w 7813252"/>
              <a:gd name="connsiteY18" fmla="*/ 0 h 4265636"/>
              <a:gd name="connsiteX19" fmla="*/ 2571221 w 7813252"/>
              <a:gd name="connsiteY19" fmla="*/ 3524762 h 4265636"/>
              <a:gd name="connsiteX20" fmla="*/ 0 w 7813252"/>
              <a:gd name="connsiteY20" fmla="*/ 0 h 4265636"/>
              <a:gd name="connsiteX21" fmla="*/ 0 w 7813252"/>
              <a:gd name="connsiteY21" fmla="*/ 729648 h 4265636"/>
              <a:gd name="connsiteX22" fmla="*/ 0 w 7813252"/>
              <a:gd name="connsiteY22" fmla="*/ 729648 h 4265636"/>
              <a:gd name="connsiteX23" fmla="*/ 1466682 w 7813252"/>
              <a:gd name="connsiteY23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487323 w 7813252"/>
              <a:gd name="connsiteY13" fmla="*/ 4265636 h 4265636"/>
              <a:gd name="connsiteX14" fmla="*/ 7813252 w 7813252"/>
              <a:gd name="connsiteY14" fmla="*/ 4240940 h 4265636"/>
              <a:gd name="connsiteX15" fmla="*/ 7813252 w 7813252"/>
              <a:gd name="connsiteY15" fmla="*/ 4214000 h 4265636"/>
              <a:gd name="connsiteX16" fmla="*/ 5146969 w 7813252"/>
              <a:gd name="connsiteY16" fmla="*/ 0 h 4265636"/>
              <a:gd name="connsiteX17" fmla="*/ 5146969 w 7813252"/>
              <a:gd name="connsiteY17" fmla="*/ 0 h 4265636"/>
              <a:gd name="connsiteX18" fmla="*/ 2571221 w 7813252"/>
              <a:gd name="connsiteY18" fmla="*/ 3524762 h 4265636"/>
              <a:gd name="connsiteX19" fmla="*/ 0 w 7813252"/>
              <a:gd name="connsiteY19" fmla="*/ 0 h 4265636"/>
              <a:gd name="connsiteX20" fmla="*/ 0 w 7813252"/>
              <a:gd name="connsiteY20" fmla="*/ 729648 h 4265636"/>
              <a:gd name="connsiteX21" fmla="*/ 0 w 7813252"/>
              <a:gd name="connsiteY21" fmla="*/ 729648 h 4265636"/>
              <a:gd name="connsiteX22" fmla="*/ 1466682 w 7813252"/>
              <a:gd name="connsiteY22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6837727 w 7813252"/>
              <a:gd name="connsiteY12" fmla="*/ 4238695 h 4265636"/>
              <a:gd name="connsiteX13" fmla="*/ 7813252 w 7813252"/>
              <a:gd name="connsiteY13" fmla="*/ 4240940 h 4265636"/>
              <a:gd name="connsiteX14" fmla="*/ 7813252 w 7813252"/>
              <a:gd name="connsiteY14" fmla="*/ 4214000 h 4265636"/>
              <a:gd name="connsiteX15" fmla="*/ 5146969 w 7813252"/>
              <a:gd name="connsiteY15" fmla="*/ 0 h 4265636"/>
              <a:gd name="connsiteX16" fmla="*/ 5146969 w 7813252"/>
              <a:gd name="connsiteY16" fmla="*/ 0 h 4265636"/>
              <a:gd name="connsiteX17" fmla="*/ 2571221 w 7813252"/>
              <a:gd name="connsiteY17" fmla="*/ 3524762 h 4265636"/>
              <a:gd name="connsiteX18" fmla="*/ 0 w 7813252"/>
              <a:gd name="connsiteY18" fmla="*/ 0 h 4265636"/>
              <a:gd name="connsiteX19" fmla="*/ 0 w 7813252"/>
              <a:gd name="connsiteY19" fmla="*/ 729648 h 4265636"/>
              <a:gd name="connsiteX20" fmla="*/ 0 w 7813252"/>
              <a:gd name="connsiteY20" fmla="*/ 729648 h 4265636"/>
              <a:gd name="connsiteX21" fmla="*/ 1466682 w 7813252"/>
              <a:gd name="connsiteY21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2942418 w 7813252"/>
              <a:gd name="connsiteY6" fmla="*/ 4265636 h 4265636"/>
              <a:gd name="connsiteX7" fmla="*/ 3598804 w 7813252"/>
              <a:gd name="connsiteY7" fmla="*/ 4265636 h 4265636"/>
              <a:gd name="connsiteX8" fmla="*/ 3598804 w 7813252"/>
              <a:gd name="connsiteY8" fmla="*/ 4240940 h 4265636"/>
              <a:gd name="connsiteX9" fmla="*/ 3673496 w 7813252"/>
              <a:gd name="connsiteY9" fmla="*/ 4240940 h 4265636"/>
              <a:gd name="connsiteX10" fmla="*/ 5144705 w 7813252"/>
              <a:gd name="connsiteY10" fmla="*/ 731893 h 4265636"/>
              <a:gd name="connsiteX11" fmla="*/ 6563856 w 7813252"/>
              <a:gd name="connsiteY11" fmla="*/ 4238695 h 4265636"/>
              <a:gd name="connsiteX12" fmla="*/ 7813252 w 7813252"/>
              <a:gd name="connsiteY12" fmla="*/ 4240940 h 4265636"/>
              <a:gd name="connsiteX13" fmla="*/ 7813252 w 7813252"/>
              <a:gd name="connsiteY13" fmla="*/ 4214000 h 4265636"/>
              <a:gd name="connsiteX14" fmla="*/ 5146969 w 7813252"/>
              <a:gd name="connsiteY14" fmla="*/ 0 h 4265636"/>
              <a:gd name="connsiteX15" fmla="*/ 5146969 w 7813252"/>
              <a:gd name="connsiteY15" fmla="*/ 0 h 4265636"/>
              <a:gd name="connsiteX16" fmla="*/ 2571221 w 7813252"/>
              <a:gd name="connsiteY16" fmla="*/ 3524762 h 4265636"/>
              <a:gd name="connsiteX17" fmla="*/ 0 w 7813252"/>
              <a:gd name="connsiteY17" fmla="*/ 0 h 4265636"/>
              <a:gd name="connsiteX18" fmla="*/ 0 w 7813252"/>
              <a:gd name="connsiteY18" fmla="*/ 729648 h 4265636"/>
              <a:gd name="connsiteX19" fmla="*/ 0 w 7813252"/>
              <a:gd name="connsiteY19" fmla="*/ 729648 h 4265636"/>
              <a:gd name="connsiteX20" fmla="*/ 1466682 w 7813252"/>
              <a:gd name="connsiteY20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2942418 w 7813252"/>
              <a:gd name="connsiteY5" fmla="*/ 4240940 h 4265636"/>
              <a:gd name="connsiteX6" fmla="*/ 3598804 w 7813252"/>
              <a:gd name="connsiteY6" fmla="*/ 4265636 h 4265636"/>
              <a:gd name="connsiteX7" fmla="*/ 3598804 w 7813252"/>
              <a:gd name="connsiteY7" fmla="*/ 4240940 h 4265636"/>
              <a:gd name="connsiteX8" fmla="*/ 3673496 w 7813252"/>
              <a:gd name="connsiteY8" fmla="*/ 4240940 h 4265636"/>
              <a:gd name="connsiteX9" fmla="*/ 5144705 w 7813252"/>
              <a:gd name="connsiteY9" fmla="*/ 731893 h 4265636"/>
              <a:gd name="connsiteX10" fmla="*/ 6563856 w 7813252"/>
              <a:gd name="connsiteY10" fmla="*/ 4238695 h 4265636"/>
              <a:gd name="connsiteX11" fmla="*/ 7813252 w 7813252"/>
              <a:gd name="connsiteY11" fmla="*/ 4240940 h 4265636"/>
              <a:gd name="connsiteX12" fmla="*/ 7813252 w 7813252"/>
              <a:gd name="connsiteY12" fmla="*/ 4214000 h 4265636"/>
              <a:gd name="connsiteX13" fmla="*/ 5146969 w 7813252"/>
              <a:gd name="connsiteY13" fmla="*/ 0 h 4265636"/>
              <a:gd name="connsiteX14" fmla="*/ 5146969 w 7813252"/>
              <a:gd name="connsiteY14" fmla="*/ 0 h 4265636"/>
              <a:gd name="connsiteX15" fmla="*/ 2571221 w 7813252"/>
              <a:gd name="connsiteY15" fmla="*/ 3524762 h 4265636"/>
              <a:gd name="connsiteX16" fmla="*/ 0 w 7813252"/>
              <a:gd name="connsiteY16" fmla="*/ 0 h 4265636"/>
              <a:gd name="connsiteX17" fmla="*/ 0 w 7813252"/>
              <a:gd name="connsiteY17" fmla="*/ 729648 h 4265636"/>
              <a:gd name="connsiteX18" fmla="*/ 0 w 7813252"/>
              <a:gd name="connsiteY18" fmla="*/ 729648 h 4265636"/>
              <a:gd name="connsiteX19" fmla="*/ 1466682 w 7813252"/>
              <a:gd name="connsiteY19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2297350 w 7813252"/>
              <a:gd name="connsiteY4" fmla="*/ 4240940 h 4265636"/>
              <a:gd name="connsiteX5" fmla="*/ 3598804 w 7813252"/>
              <a:gd name="connsiteY5" fmla="*/ 4265636 h 4265636"/>
              <a:gd name="connsiteX6" fmla="*/ 3598804 w 7813252"/>
              <a:gd name="connsiteY6" fmla="*/ 4240940 h 4265636"/>
              <a:gd name="connsiteX7" fmla="*/ 3673496 w 7813252"/>
              <a:gd name="connsiteY7" fmla="*/ 4240940 h 4265636"/>
              <a:gd name="connsiteX8" fmla="*/ 5144705 w 7813252"/>
              <a:gd name="connsiteY8" fmla="*/ 731893 h 4265636"/>
              <a:gd name="connsiteX9" fmla="*/ 6563856 w 7813252"/>
              <a:gd name="connsiteY9" fmla="*/ 4238695 h 4265636"/>
              <a:gd name="connsiteX10" fmla="*/ 7813252 w 7813252"/>
              <a:gd name="connsiteY10" fmla="*/ 4240940 h 4265636"/>
              <a:gd name="connsiteX11" fmla="*/ 7813252 w 7813252"/>
              <a:gd name="connsiteY11" fmla="*/ 4214000 h 4265636"/>
              <a:gd name="connsiteX12" fmla="*/ 5146969 w 7813252"/>
              <a:gd name="connsiteY12" fmla="*/ 0 h 4265636"/>
              <a:gd name="connsiteX13" fmla="*/ 5146969 w 7813252"/>
              <a:gd name="connsiteY13" fmla="*/ 0 h 4265636"/>
              <a:gd name="connsiteX14" fmla="*/ 2571221 w 7813252"/>
              <a:gd name="connsiteY14" fmla="*/ 3524762 h 4265636"/>
              <a:gd name="connsiteX15" fmla="*/ 0 w 7813252"/>
              <a:gd name="connsiteY15" fmla="*/ 0 h 4265636"/>
              <a:gd name="connsiteX16" fmla="*/ 0 w 7813252"/>
              <a:gd name="connsiteY16" fmla="*/ 729648 h 4265636"/>
              <a:gd name="connsiteX17" fmla="*/ 0 w 7813252"/>
              <a:gd name="connsiteY17" fmla="*/ 729648 h 4265636"/>
              <a:gd name="connsiteX18" fmla="*/ 1466682 w 7813252"/>
              <a:gd name="connsiteY18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598804 w 7813252"/>
              <a:gd name="connsiteY4" fmla="*/ 4265636 h 4265636"/>
              <a:gd name="connsiteX5" fmla="*/ 3598804 w 7813252"/>
              <a:gd name="connsiteY5" fmla="*/ 4240940 h 4265636"/>
              <a:gd name="connsiteX6" fmla="*/ 3673496 w 7813252"/>
              <a:gd name="connsiteY6" fmla="*/ 4240940 h 4265636"/>
              <a:gd name="connsiteX7" fmla="*/ 5144705 w 7813252"/>
              <a:gd name="connsiteY7" fmla="*/ 731893 h 4265636"/>
              <a:gd name="connsiteX8" fmla="*/ 6563856 w 7813252"/>
              <a:gd name="connsiteY8" fmla="*/ 4238695 h 4265636"/>
              <a:gd name="connsiteX9" fmla="*/ 7813252 w 7813252"/>
              <a:gd name="connsiteY9" fmla="*/ 4240940 h 4265636"/>
              <a:gd name="connsiteX10" fmla="*/ 7813252 w 7813252"/>
              <a:gd name="connsiteY10" fmla="*/ 4214000 h 4265636"/>
              <a:gd name="connsiteX11" fmla="*/ 5146969 w 7813252"/>
              <a:gd name="connsiteY11" fmla="*/ 0 h 4265636"/>
              <a:gd name="connsiteX12" fmla="*/ 5146969 w 7813252"/>
              <a:gd name="connsiteY12" fmla="*/ 0 h 4265636"/>
              <a:gd name="connsiteX13" fmla="*/ 2571221 w 7813252"/>
              <a:gd name="connsiteY13" fmla="*/ 3524762 h 4265636"/>
              <a:gd name="connsiteX14" fmla="*/ 0 w 7813252"/>
              <a:gd name="connsiteY14" fmla="*/ 0 h 4265636"/>
              <a:gd name="connsiteX15" fmla="*/ 0 w 7813252"/>
              <a:gd name="connsiteY15" fmla="*/ 729648 h 4265636"/>
              <a:gd name="connsiteX16" fmla="*/ 0 w 7813252"/>
              <a:gd name="connsiteY16" fmla="*/ 729648 h 4265636"/>
              <a:gd name="connsiteX17" fmla="*/ 1466682 w 7813252"/>
              <a:gd name="connsiteY17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598804 w 7813252"/>
              <a:gd name="connsiteY4" fmla="*/ 4265636 h 4265636"/>
              <a:gd name="connsiteX5" fmla="*/ 3673496 w 7813252"/>
              <a:gd name="connsiteY5" fmla="*/ 4240940 h 4265636"/>
              <a:gd name="connsiteX6" fmla="*/ 5144705 w 7813252"/>
              <a:gd name="connsiteY6" fmla="*/ 731893 h 4265636"/>
              <a:gd name="connsiteX7" fmla="*/ 6563856 w 7813252"/>
              <a:gd name="connsiteY7" fmla="*/ 4238695 h 4265636"/>
              <a:gd name="connsiteX8" fmla="*/ 7813252 w 7813252"/>
              <a:gd name="connsiteY8" fmla="*/ 4240940 h 4265636"/>
              <a:gd name="connsiteX9" fmla="*/ 7813252 w 7813252"/>
              <a:gd name="connsiteY9" fmla="*/ 4214000 h 4265636"/>
              <a:gd name="connsiteX10" fmla="*/ 5146969 w 7813252"/>
              <a:gd name="connsiteY10" fmla="*/ 0 h 4265636"/>
              <a:gd name="connsiteX11" fmla="*/ 5146969 w 7813252"/>
              <a:gd name="connsiteY11" fmla="*/ 0 h 4265636"/>
              <a:gd name="connsiteX12" fmla="*/ 2571221 w 7813252"/>
              <a:gd name="connsiteY12" fmla="*/ 3524762 h 4265636"/>
              <a:gd name="connsiteX13" fmla="*/ 0 w 7813252"/>
              <a:gd name="connsiteY13" fmla="*/ 0 h 4265636"/>
              <a:gd name="connsiteX14" fmla="*/ 0 w 7813252"/>
              <a:gd name="connsiteY14" fmla="*/ 729648 h 4265636"/>
              <a:gd name="connsiteX15" fmla="*/ 0 w 7813252"/>
              <a:gd name="connsiteY15" fmla="*/ 729648 h 4265636"/>
              <a:gd name="connsiteX16" fmla="*/ 1466682 w 7813252"/>
              <a:gd name="connsiteY16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2297350 w 7813252"/>
              <a:gd name="connsiteY3" fmla="*/ 4265636 h 4265636"/>
              <a:gd name="connsiteX4" fmla="*/ 3673496 w 7813252"/>
              <a:gd name="connsiteY4" fmla="*/ 4240940 h 4265636"/>
              <a:gd name="connsiteX5" fmla="*/ 5144705 w 7813252"/>
              <a:gd name="connsiteY5" fmla="*/ 731893 h 4265636"/>
              <a:gd name="connsiteX6" fmla="*/ 6563856 w 7813252"/>
              <a:gd name="connsiteY6" fmla="*/ 4238695 h 4265636"/>
              <a:gd name="connsiteX7" fmla="*/ 7813252 w 7813252"/>
              <a:gd name="connsiteY7" fmla="*/ 4240940 h 4265636"/>
              <a:gd name="connsiteX8" fmla="*/ 7813252 w 7813252"/>
              <a:gd name="connsiteY8" fmla="*/ 4214000 h 4265636"/>
              <a:gd name="connsiteX9" fmla="*/ 5146969 w 7813252"/>
              <a:gd name="connsiteY9" fmla="*/ 0 h 4265636"/>
              <a:gd name="connsiteX10" fmla="*/ 5146969 w 7813252"/>
              <a:gd name="connsiteY10" fmla="*/ 0 h 4265636"/>
              <a:gd name="connsiteX11" fmla="*/ 2571221 w 7813252"/>
              <a:gd name="connsiteY11" fmla="*/ 3524762 h 4265636"/>
              <a:gd name="connsiteX12" fmla="*/ 0 w 7813252"/>
              <a:gd name="connsiteY12" fmla="*/ 0 h 4265636"/>
              <a:gd name="connsiteX13" fmla="*/ 0 w 7813252"/>
              <a:gd name="connsiteY13" fmla="*/ 729648 h 4265636"/>
              <a:gd name="connsiteX14" fmla="*/ 0 w 7813252"/>
              <a:gd name="connsiteY14" fmla="*/ 729648 h 4265636"/>
              <a:gd name="connsiteX15" fmla="*/ 1466682 w 7813252"/>
              <a:gd name="connsiteY15" fmla="*/ 4238695 h 4265636"/>
              <a:gd name="connsiteX0" fmla="*/ 1466682 w 7813252"/>
              <a:gd name="connsiteY0" fmla="*/ 4238695 h 4265636"/>
              <a:gd name="connsiteX1" fmla="*/ 1647754 w 7813252"/>
              <a:gd name="connsiteY1" fmla="*/ 4238695 h 4265636"/>
              <a:gd name="connsiteX2" fmla="*/ 1647754 w 7813252"/>
              <a:gd name="connsiteY2" fmla="*/ 4265636 h 4265636"/>
              <a:gd name="connsiteX3" fmla="*/ 3673496 w 7813252"/>
              <a:gd name="connsiteY3" fmla="*/ 4240940 h 4265636"/>
              <a:gd name="connsiteX4" fmla="*/ 5144705 w 7813252"/>
              <a:gd name="connsiteY4" fmla="*/ 731893 h 4265636"/>
              <a:gd name="connsiteX5" fmla="*/ 6563856 w 7813252"/>
              <a:gd name="connsiteY5" fmla="*/ 4238695 h 4265636"/>
              <a:gd name="connsiteX6" fmla="*/ 7813252 w 7813252"/>
              <a:gd name="connsiteY6" fmla="*/ 4240940 h 4265636"/>
              <a:gd name="connsiteX7" fmla="*/ 7813252 w 7813252"/>
              <a:gd name="connsiteY7" fmla="*/ 4214000 h 4265636"/>
              <a:gd name="connsiteX8" fmla="*/ 5146969 w 7813252"/>
              <a:gd name="connsiteY8" fmla="*/ 0 h 4265636"/>
              <a:gd name="connsiteX9" fmla="*/ 5146969 w 7813252"/>
              <a:gd name="connsiteY9" fmla="*/ 0 h 4265636"/>
              <a:gd name="connsiteX10" fmla="*/ 2571221 w 7813252"/>
              <a:gd name="connsiteY10" fmla="*/ 3524762 h 4265636"/>
              <a:gd name="connsiteX11" fmla="*/ 0 w 7813252"/>
              <a:gd name="connsiteY11" fmla="*/ 0 h 4265636"/>
              <a:gd name="connsiteX12" fmla="*/ 0 w 7813252"/>
              <a:gd name="connsiteY12" fmla="*/ 729648 h 4265636"/>
              <a:gd name="connsiteX13" fmla="*/ 0 w 7813252"/>
              <a:gd name="connsiteY13" fmla="*/ 729648 h 4265636"/>
              <a:gd name="connsiteX14" fmla="*/ 1466682 w 7813252"/>
              <a:gd name="connsiteY14" fmla="*/ 4238695 h 4265636"/>
              <a:gd name="connsiteX0" fmla="*/ 1466682 w 7813252"/>
              <a:gd name="connsiteY0" fmla="*/ 4238695 h 4240940"/>
              <a:gd name="connsiteX1" fmla="*/ 1647754 w 7813252"/>
              <a:gd name="connsiteY1" fmla="*/ 4238695 h 4240940"/>
              <a:gd name="connsiteX2" fmla="*/ 3673496 w 7813252"/>
              <a:gd name="connsiteY2" fmla="*/ 4240940 h 4240940"/>
              <a:gd name="connsiteX3" fmla="*/ 5144705 w 7813252"/>
              <a:gd name="connsiteY3" fmla="*/ 731893 h 4240940"/>
              <a:gd name="connsiteX4" fmla="*/ 6563856 w 7813252"/>
              <a:gd name="connsiteY4" fmla="*/ 4238695 h 4240940"/>
              <a:gd name="connsiteX5" fmla="*/ 7813252 w 7813252"/>
              <a:gd name="connsiteY5" fmla="*/ 4240940 h 4240940"/>
              <a:gd name="connsiteX6" fmla="*/ 7813252 w 7813252"/>
              <a:gd name="connsiteY6" fmla="*/ 4214000 h 4240940"/>
              <a:gd name="connsiteX7" fmla="*/ 5146969 w 7813252"/>
              <a:gd name="connsiteY7" fmla="*/ 0 h 4240940"/>
              <a:gd name="connsiteX8" fmla="*/ 5146969 w 7813252"/>
              <a:gd name="connsiteY8" fmla="*/ 0 h 4240940"/>
              <a:gd name="connsiteX9" fmla="*/ 2571221 w 7813252"/>
              <a:gd name="connsiteY9" fmla="*/ 3524762 h 4240940"/>
              <a:gd name="connsiteX10" fmla="*/ 0 w 7813252"/>
              <a:gd name="connsiteY10" fmla="*/ 0 h 4240940"/>
              <a:gd name="connsiteX11" fmla="*/ 0 w 7813252"/>
              <a:gd name="connsiteY11" fmla="*/ 729648 h 4240940"/>
              <a:gd name="connsiteX12" fmla="*/ 0 w 7813252"/>
              <a:gd name="connsiteY12" fmla="*/ 729648 h 4240940"/>
              <a:gd name="connsiteX13" fmla="*/ 1466682 w 7813252"/>
              <a:gd name="connsiteY13" fmla="*/ 4238695 h 4240940"/>
              <a:gd name="connsiteX0" fmla="*/ 1466682 w 7813252"/>
              <a:gd name="connsiteY0" fmla="*/ 4238695 h 4240940"/>
              <a:gd name="connsiteX1" fmla="*/ 3673496 w 7813252"/>
              <a:gd name="connsiteY1" fmla="*/ 4240940 h 4240940"/>
              <a:gd name="connsiteX2" fmla="*/ 5144705 w 7813252"/>
              <a:gd name="connsiteY2" fmla="*/ 731893 h 4240940"/>
              <a:gd name="connsiteX3" fmla="*/ 6563856 w 7813252"/>
              <a:gd name="connsiteY3" fmla="*/ 4238695 h 4240940"/>
              <a:gd name="connsiteX4" fmla="*/ 7813252 w 7813252"/>
              <a:gd name="connsiteY4" fmla="*/ 4240940 h 4240940"/>
              <a:gd name="connsiteX5" fmla="*/ 7813252 w 7813252"/>
              <a:gd name="connsiteY5" fmla="*/ 4214000 h 4240940"/>
              <a:gd name="connsiteX6" fmla="*/ 5146969 w 7813252"/>
              <a:gd name="connsiteY6" fmla="*/ 0 h 4240940"/>
              <a:gd name="connsiteX7" fmla="*/ 5146969 w 7813252"/>
              <a:gd name="connsiteY7" fmla="*/ 0 h 4240940"/>
              <a:gd name="connsiteX8" fmla="*/ 2571221 w 7813252"/>
              <a:gd name="connsiteY8" fmla="*/ 3524762 h 4240940"/>
              <a:gd name="connsiteX9" fmla="*/ 0 w 7813252"/>
              <a:gd name="connsiteY9" fmla="*/ 0 h 4240940"/>
              <a:gd name="connsiteX10" fmla="*/ 0 w 7813252"/>
              <a:gd name="connsiteY10" fmla="*/ 729648 h 4240940"/>
              <a:gd name="connsiteX11" fmla="*/ 0 w 7813252"/>
              <a:gd name="connsiteY11" fmla="*/ 729648 h 4240940"/>
              <a:gd name="connsiteX12" fmla="*/ 1466682 w 7813252"/>
              <a:gd name="connsiteY12" fmla="*/ 4238695 h 4240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13252" h="4240940">
                <a:moveTo>
                  <a:pt x="1466682" y="4238695"/>
                </a:moveTo>
                <a:lnTo>
                  <a:pt x="3673496" y="4240940"/>
                </a:lnTo>
                <a:cubicBezTo>
                  <a:pt x="4008479" y="2110367"/>
                  <a:pt x="4542641" y="731893"/>
                  <a:pt x="5144705" y="731893"/>
                </a:cubicBezTo>
                <a:cubicBezTo>
                  <a:pt x="5746769" y="731893"/>
                  <a:pt x="6235663" y="2099142"/>
                  <a:pt x="6563856" y="4238695"/>
                </a:cubicBezTo>
                <a:lnTo>
                  <a:pt x="7813252" y="4240940"/>
                </a:lnTo>
                <a:lnTo>
                  <a:pt x="7813252" y="4214000"/>
                </a:lnTo>
                <a:cubicBezTo>
                  <a:pt x="7220242" y="1663598"/>
                  <a:pt x="6246980" y="0"/>
                  <a:pt x="5146969" y="0"/>
                </a:cubicBezTo>
                <a:lnTo>
                  <a:pt x="5146969" y="0"/>
                </a:lnTo>
                <a:cubicBezTo>
                  <a:pt x="4103542" y="0"/>
                  <a:pt x="3168758" y="1376229"/>
                  <a:pt x="2571221" y="3524762"/>
                </a:cubicBezTo>
                <a:cubicBezTo>
                  <a:pt x="1964630" y="1378474"/>
                  <a:pt x="1038900" y="0"/>
                  <a:pt x="0" y="0"/>
                </a:cubicBezTo>
                <a:lnTo>
                  <a:pt x="0" y="729648"/>
                </a:lnTo>
                <a:lnTo>
                  <a:pt x="0" y="729648"/>
                </a:lnTo>
                <a:cubicBezTo>
                  <a:pt x="599801" y="736384"/>
                  <a:pt x="1131699" y="2114858"/>
                  <a:pt x="1466682" y="4238695"/>
                </a:cubicBezTo>
                <a:close/>
              </a:path>
            </a:pathLst>
          </a:custGeom>
          <a:solidFill>
            <a:srgbClr val="FFB71B"/>
          </a:solidFill>
          <a:ln w="226151" cap="flat">
            <a:noFill/>
            <a:prstDash val="solid"/>
            <a:miter/>
          </a:ln>
        </p:spPr>
        <p:txBody>
          <a:bodyPr rtlCol="0" anchor="ctr"/>
          <a:lstStyle/>
          <a:p>
            <a:endParaRPr lang="pl-PL"/>
          </a:p>
        </p:txBody>
      </p:sp>
      <p:sp>
        <p:nvSpPr>
          <p:cNvPr id="14" name="Retângulo 43">
            <a:extLst>
              <a:ext uri="{FF2B5EF4-FFF2-40B4-BE49-F238E27FC236}">
                <a16:creationId xmlns:a16="http://schemas.microsoft.com/office/drawing/2014/main" id="{4121CA79-A8FD-614C-92D2-BC9F4ACF8014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3922025-64F3-B540-9B23-803B3D29009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176414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520834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10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raphic 14">
            <a:extLst>
              <a:ext uri="{FF2B5EF4-FFF2-40B4-BE49-F238E27FC236}">
                <a16:creationId xmlns:a16="http://schemas.microsoft.com/office/drawing/2014/main" id="{75B56B46-BE13-3D40-BA15-B628009794D9}"/>
              </a:ext>
            </a:extLst>
          </p:cNvPr>
          <p:cNvSpPr/>
          <p:nvPr/>
        </p:nvSpPr>
        <p:spPr>
          <a:xfrm rot="5400000">
            <a:off x="4799317" y="1872749"/>
            <a:ext cx="6858001" cy="3112508"/>
          </a:xfrm>
          <a:custGeom>
            <a:avLst/>
            <a:gdLst>
              <a:gd name="connsiteX0" fmla="*/ 5407628 w 5400675"/>
              <a:gd name="connsiteY0" fmla="*/ 817504 h 2451100"/>
              <a:gd name="connsiteX1" fmla="*/ 4223195 w 5400675"/>
              <a:gd name="connsiteY1" fmla="*/ 817504 h 2451100"/>
              <a:gd name="connsiteX2" fmla="*/ 2156555 w 5400675"/>
              <a:gd name="connsiteY2" fmla="*/ 81319 h 2451100"/>
              <a:gd name="connsiteX3" fmla="*/ 0 w 5400675"/>
              <a:gd name="connsiteY3" fmla="*/ 434544 h 2451100"/>
              <a:gd name="connsiteX4" fmla="*/ 0 w 5400675"/>
              <a:gd name="connsiteY4" fmla="*/ 2454516 h 2451100"/>
              <a:gd name="connsiteX5" fmla="*/ 5407628 w 5400675"/>
              <a:gd name="connsiteY5" fmla="*/ 2454516 h 245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675" h="2451100">
                <a:moveTo>
                  <a:pt x="5407628" y="817504"/>
                </a:moveTo>
                <a:cubicBezTo>
                  <a:pt x="5407628" y="817504"/>
                  <a:pt x="4648200" y="-274280"/>
                  <a:pt x="4223195" y="817504"/>
                </a:cubicBezTo>
                <a:cubicBezTo>
                  <a:pt x="3798189" y="1909289"/>
                  <a:pt x="2809875" y="1300504"/>
                  <a:pt x="2156555" y="81319"/>
                </a:cubicBezTo>
                <a:cubicBezTo>
                  <a:pt x="865918" y="-225448"/>
                  <a:pt x="0" y="434544"/>
                  <a:pt x="0" y="434544"/>
                </a:cubicBezTo>
                <a:lnTo>
                  <a:pt x="0" y="2454516"/>
                </a:lnTo>
                <a:lnTo>
                  <a:pt x="5407628" y="2454516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l-PL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9F38E8-7E19-8B4E-9DCB-81168244F089}"/>
              </a:ext>
            </a:extLst>
          </p:cNvPr>
          <p:cNvSpPr/>
          <p:nvPr userDrawn="1"/>
        </p:nvSpPr>
        <p:spPr>
          <a:xfrm>
            <a:off x="0" y="0"/>
            <a:ext cx="6888088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bg1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9991689" cy="1104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E956B68-B273-4648-AC4B-C9A05A74516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47528" y="2708920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12D7C74-E8A0-4A7D-95DA-A1411166951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47528" y="3645024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D6AE9D-467E-46C0-B32B-79A9B07CDD1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47528" y="4630276"/>
            <a:ext cx="3312368" cy="7200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B3678A1-0F5C-0D4B-B1D3-874F1EE8AC6F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/>
                </a:solidFill>
              </a:rPr>
              <a:t>Presentation Title | Author | Dat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045F1E-0B89-42E3-8523-E74F71FF96E7}"/>
              </a:ext>
            </a:extLst>
          </p:cNvPr>
          <p:cNvSpPr/>
          <p:nvPr userDrawn="1"/>
        </p:nvSpPr>
        <p:spPr>
          <a:xfrm>
            <a:off x="10165444" y="0"/>
            <a:ext cx="1972961" cy="19442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2"/>
                </a:solidFill>
              </a:ln>
              <a:solidFill>
                <a:schemeClr val="bg2"/>
              </a:solidFill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0D2AE7C-813B-48DB-AF12-A6843B5901BE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tx1"/>
          </a:solidFill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CE10FF9-64AF-4F41-95D9-A793E6D02FE7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36" name="Groupe 1">
                <a:extLst>
                  <a:ext uri="{FF2B5EF4-FFF2-40B4-BE49-F238E27FC236}">
                    <a16:creationId xmlns:a16="http://schemas.microsoft.com/office/drawing/2014/main" id="{2BC5D941-8E74-49F3-A1D3-8FA86A49BC19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38" name="Freeform 13">
                  <a:extLst>
                    <a:ext uri="{FF2B5EF4-FFF2-40B4-BE49-F238E27FC236}">
                      <a16:creationId xmlns:a16="http://schemas.microsoft.com/office/drawing/2014/main" id="{6BC23711-147C-4612-A345-A94D8343D21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9" name="Freeform 14">
                  <a:extLst>
                    <a:ext uri="{FF2B5EF4-FFF2-40B4-BE49-F238E27FC236}">
                      <a16:creationId xmlns:a16="http://schemas.microsoft.com/office/drawing/2014/main" id="{331F65AA-2DB5-47E0-AD05-20B59F97C33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7" name="Freeform 17">
                <a:extLst>
                  <a:ext uri="{FF2B5EF4-FFF2-40B4-BE49-F238E27FC236}">
                    <a16:creationId xmlns:a16="http://schemas.microsoft.com/office/drawing/2014/main" id="{B4CAF273-2A83-4097-B11F-B584411101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9D70A55-A356-4865-86F3-AC189E34F9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49119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11">
            <a:extLst>
              <a:ext uri="{FF2B5EF4-FFF2-40B4-BE49-F238E27FC236}">
                <a16:creationId xmlns:a16="http://schemas.microsoft.com/office/drawing/2014/main" id="{10113F8D-52D8-4246-B9BC-1A6D3EF8C7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5000"/>
          <a:stretch>
            <a:fillRect/>
          </a:stretch>
        </p:blipFill>
        <p:spPr>
          <a:xfrm>
            <a:off x="0" y="1485901"/>
            <a:ext cx="6423099" cy="5372100"/>
          </a:xfrm>
          <a:custGeom>
            <a:avLst/>
            <a:gdLst>
              <a:gd name="connsiteX0" fmla="*/ 0 w 6149773"/>
              <a:gd name="connsiteY0" fmla="*/ 0 h 5143500"/>
              <a:gd name="connsiteX1" fmla="*/ 6149773 w 6149773"/>
              <a:gd name="connsiteY1" fmla="*/ 0 h 5143500"/>
              <a:gd name="connsiteX2" fmla="*/ 6149773 w 6149773"/>
              <a:gd name="connsiteY2" fmla="*/ 5143500 h 5143500"/>
              <a:gd name="connsiteX3" fmla="*/ 0 w 6149773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9773" h="5143500">
                <a:moveTo>
                  <a:pt x="0" y="0"/>
                </a:moveTo>
                <a:lnTo>
                  <a:pt x="6149773" y="0"/>
                </a:lnTo>
                <a:lnTo>
                  <a:pt x="6149773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99401" y="12267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9401" y="1912987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99401" y="25934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9401" y="3276788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99401" y="39601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9401" y="4647883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9401" y="5326839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99401" y="6008372"/>
            <a:ext cx="3708401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1381125"/>
            <a:ext cx="7494588" cy="547687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47472C6-7260-47DD-A7C1-57D257E3198D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bg1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10004081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3" name="Freeform 5"/>
          <p:cNvSpPr>
            <a:spLocks/>
          </p:cNvSpPr>
          <p:nvPr userDrawn="1"/>
        </p:nvSpPr>
        <p:spPr bwMode="auto">
          <a:xfrm>
            <a:off x="0" y="1"/>
            <a:ext cx="6884760" cy="6403071"/>
          </a:xfrm>
          <a:custGeom>
            <a:avLst/>
            <a:gdLst/>
            <a:ahLst/>
            <a:cxnLst>
              <a:cxn ang="0">
                <a:pos x="0" y="1449"/>
              </a:cxn>
              <a:cxn ang="0">
                <a:pos x="0" y="0"/>
              </a:cxn>
              <a:cxn ang="0">
                <a:pos x="2215" y="0"/>
              </a:cxn>
              <a:cxn ang="0">
                <a:pos x="2229" y="14"/>
              </a:cxn>
              <a:cxn ang="0">
                <a:pos x="2486" y="284"/>
              </a:cxn>
              <a:cxn ang="0">
                <a:pos x="2694" y="575"/>
              </a:cxn>
              <a:cxn ang="0">
                <a:pos x="2806" y="855"/>
              </a:cxn>
              <a:cxn ang="0">
                <a:pos x="2824" y="979"/>
              </a:cxn>
              <a:cxn ang="0">
                <a:pos x="2824" y="1044"/>
              </a:cxn>
              <a:cxn ang="0">
                <a:pos x="2822" y="1069"/>
              </a:cxn>
              <a:cxn ang="0">
                <a:pos x="2816" y="1118"/>
              </a:cxn>
              <a:cxn ang="0">
                <a:pos x="2733" y="1340"/>
              </a:cxn>
              <a:cxn ang="0">
                <a:pos x="2652" y="1454"/>
              </a:cxn>
              <a:cxn ang="0">
                <a:pos x="2441" y="1652"/>
              </a:cxn>
              <a:cxn ang="0">
                <a:pos x="2098" y="1873"/>
              </a:cxn>
              <a:cxn ang="0">
                <a:pos x="1711" y="2073"/>
              </a:cxn>
              <a:cxn ang="0">
                <a:pos x="1382" y="2243"/>
              </a:cxn>
              <a:cxn ang="0">
                <a:pos x="1159" y="2392"/>
              </a:cxn>
              <a:cxn ang="0">
                <a:pos x="1101" y="2445"/>
              </a:cxn>
              <a:cxn ang="0">
                <a:pos x="1018" y="2588"/>
              </a:cxn>
              <a:cxn ang="0">
                <a:pos x="1011" y="2595"/>
              </a:cxn>
              <a:cxn ang="0">
                <a:pos x="983" y="2603"/>
              </a:cxn>
              <a:cxn ang="0">
                <a:pos x="878" y="2622"/>
              </a:cxn>
              <a:cxn ang="0">
                <a:pos x="863" y="2626"/>
              </a:cxn>
              <a:cxn ang="0">
                <a:pos x="783" y="2626"/>
              </a:cxn>
              <a:cxn ang="0">
                <a:pos x="769" y="2624"/>
              </a:cxn>
              <a:cxn ang="0">
                <a:pos x="711" y="2616"/>
              </a:cxn>
              <a:cxn ang="0">
                <a:pos x="445" y="2480"/>
              </a:cxn>
              <a:cxn ang="0">
                <a:pos x="299" y="2312"/>
              </a:cxn>
              <a:cxn ang="0">
                <a:pos x="149" y="2020"/>
              </a:cxn>
              <a:cxn ang="0">
                <a:pos x="48" y="1690"/>
              </a:cxn>
              <a:cxn ang="0">
                <a:pos x="4" y="1458"/>
              </a:cxn>
              <a:cxn ang="0">
                <a:pos x="0" y="1449"/>
              </a:cxn>
            </a:cxnLst>
            <a:rect l="0" t="0" r="r" b="b"/>
            <a:pathLst>
              <a:path w="2824" h="2626">
                <a:moveTo>
                  <a:pt x="0" y="1449"/>
                </a:moveTo>
                <a:cubicBezTo>
                  <a:pt x="0" y="966"/>
                  <a:pt x="0" y="483"/>
                  <a:pt x="0" y="0"/>
                </a:cubicBezTo>
                <a:cubicBezTo>
                  <a:pt x="738" y="0"/>
                  <a:pt x="1477" y="0"/>
                  <a:pt x="2215" y="0"/>
                </a:cubicBezTo>
                <a:cubicBezTo>
                  <a:pt x="2219" y="6"/>
                  <a:pt x="2224" y="9"/>
                  <a:pt x="2229" y="14"/>
                </a:cubicBezTo>
                <a:cubicBezTo>
                  <a:pt x="2319" y="100"/>
                  <a:pt x="2407" y="188"/>
                  <a:pt x="2486" y="284"/>
                </a:cubicBezTo>
                <a:cubicBezTo>
                  <a:pt x="2563" y="375"/>
                  <a:pt x="2635" y="471"/>
                  <a:pt x="2694" y="575"/>
                </a:cubicBezTo>
                <a:cubicBezTo>
                  <a:pt x="2744" y="663"/>
                  <a:pt x="2784" y="756"/>
                  <a:pt x="2806" y="855"/>
                </a:cubicBezTo>
                <a:cubicBezTo>
                  <a:pt x="2816" y="896"/>
                  <a:pt x="2821" y="937"/>
                  <a:pt x="2824" y="979"/>
                </a:cubicBezTo>
                <a:cubicBezTo>
                  <a:pt x="2824" y="1001"/>
                  <a:pt x="2824" y="1022"/>
                  <a:pt x="2824" y="1044"/>
                </a:cubicBezTo>
                <a:cubicBezTo>
                  <a:pt x="2824" y="1052"/>
                  <a:pt x="2820" y="1060"/>
                  <a:pt x="2822" y="1069"/>
                </a:cubicBezTo>
                <a:cubicBezTo>
                  <a:pt x="2821" y="1085"/>
                  <a:pt x="2819" y="1102"/>
                  <a:pt x="2816" y="1118"/>
                </a:cubicBezTo>
                <a:cubicBezTo>
                  <a:pt x="2802" y="1197"/>
                  <a:pt x="2773" y="1271"/>
                  <a:pt x="2733" y="1340"/>
                </a:cubicBezTo>
                <a:cubicBezTo>
                  <a:pt x="2709" y="1381"/>
                  <a:pt x="2682" y="1418"/>
                  <a:pt x="2652" y="1454"/>
                </a:cubicBezTo>
                <a:cubicBezTo>
                  <a:pt x="2590" y="1529"/>
                  <a:pt x="2518" y="1593"/>
                  <a:pt x="2441" y="1652"/>
                </a:cubicBezTo>
                <a:cubicBezTo>
                  <a:pt x="2333" y="1735"/>
                  <a:pt x="2217" y="1806"/>
                  <a:pt x="2098" y="1873"/>
                </a:cubicBezTo>
                <a:cubicBezTo>
                  <a:pt x="1972" y="1944"/>
                  <a:pt x="1841" y="2008"/>
                  <a:pt x="1711" y="2073"/>
                </a:cubicBezTo>
                <a:cubicBezTo>
                  <a:pt x="1600" y="2128"/>
                  <a:pt x="1490" y="2182"/>
                  <a:pt x="1382" y="2243"/>
                </a:cubicBezTo>
                <a:cubicBezTo>
                  <a:pt x="1304" y="2287"/>
                  <a:pt x="1227" y="2333"/>
                  <a:pt x="1159" y="2392"/>
                </a:cubicBezTo>
                <a:cubicBezTo>
                  <a:pt x="1139" y="2409"/>
                  <a:pt x="1119" y="2426"/>
                  <a:pt x="1101" y="2445"/>
                </a:cubicBezTo>
                <a:cubicBezTo>
                  <a:pt x="1062" y="2487"/>
                  <a:pt x="1030" y="2532"/>
                  <a:pt x="1018" y="2588"/>
                </a:cubicBezTo>
                <a:cubicBezTo>
                  <a:pt x="1017" y="2593"/>
                  <a:pt x="1014" y="2594"/>
                  <a:pt x="1011" y="2595"/>
                </a:cubicBezTo>
                <a:cubicBezTo>
                  <a:pt x="1001" y="2598"/>
                  <a:pt x="992" y="2601"/>
                  <a:pt x="983" y="2603"/>
                </a:cubicBezTo>
                <a:cubicBezTo>
                  <a:pt x="948" y="2612"/>
                  <a:pt x="913" y="2618"/>
                  <a:pt x="878" y="2622"/>
                </a:cubicBezTo>
                <a:cubicBezTo>
                  <a:pt x="873" y="2623"/>
                  <a:pt x="867" y="2621"/>
                  <a:pt x="863" y="2626"/>
                </a:cubicBezTo>
                <a:cubicBezTo>
                  <a:pt x="836" y="2626"/>
                  <a:pt x="810" y="2626"/>
                  <a:pt x="783" y="2626"/>
                </a:cubicBezTo>
                <a:cubicBezTo>
                  <a:pt x="778" y="2624"/>
                  <a:pt x="774" y="2624"/>
                  <a:pt x="769" y="2624"/>
                </a:cubicBezTo>
                <a:cubicBezTo>
                  <a:pt x="750" y="2622"/>
                  <a:pt x="730" y="2619"/>
                  <a:pt x="711" y="2616"/>
                </a:cubicBezTo>
                <a:cubicBezTo>
                  <a:pt x="609" y="2596"/>
                  <a:pt x="522" y="2548"/>
                  <a:pt x="445" y="2480"/>
                </a:cubicBezTo>
                <a:cubicBezTo>
                  <a:pt x="388" y="2431"/>
                  <a:pt x="341" y="2373"/>
                  <a:pt x="299" y="2312"/>
                </a:cubicBezTo>
                <a:cubicBezTo>
                  <a:pt x="237" y="2220"/>
                  <a:pt x="190" y="2122"/>
                  <a:pt x="149" y="2020"/>
                </a:cubicBezTo>
                <a:cubicBezTo>
                  <a:pt x="107" y="1913"/>
                  <a:pt x="74" y="1802"/>
                  <a:pt x="48" y="1690"/>
                </a:cubicBezTo>
                <a:cubicBezTo>
                  <a:pt x="30" y="1614"/>
                  <a:pt x="14" y="1536"/>
                  <a:pt x="4" y="1458"/>
                </a:cubicBezTo>
                <a:cubicBezTo>
                  <a:pt x="3" y="1455"/>
                  <a:pt x="3" y="1451"/>
                  <a:pt x="0" y="1449"/>
                </a:cubicBezTo>
                <a:close/>
              </a:path>
            </a:pathLst>
          </a:custGeom>
          <a:solidFill>
            <a:srgbClr val="0070A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78854" name="Freeform 6"/>
          <p:cNvSpPr>
            <a:spLocks/>
          </p:cNvSpPr>
          <p:nvPr userDrawn="1"/>
        </p:nvSpPr>
        <p:spPr bwMode="auto">
          <a:xfrm>
            <a:off x="10391775" y="2719390"/>
            <a:ext cx="12700" cy="79375"/>
          </a:xfrm>
          <a:custGeom>
            <a:avLst/>
            <a:gdLst/>
            <a:ahLst/>
            <a:cxnLst>
              <a:cxn ang="0">
                <a:pos x="4" y="25"/>
              </a:cxn>
              <a:cxn ang="0">
                <a:pos x="3" y="25"/>
              </a:cxn>
              <a:cxn ang="0">
                <a:pos x="2" y="25"/>
              </a:cxn>
              <a:cxn ang="0">
                <a:pos x="4" y="0"/>
              </a:cxn>
              <a:cxn ang="0">
                <a:pos x="4" y="25"/>
              </a:cxn>
            </a:cxnLst>
            <a:rect l="0" t="0" r="r" b="b"/>
            <a:pathLst>
              <a:path w="4" h="25">
                <a:moveTo>
                  <a:pt x="4" y="25"/>
                </a:moveTo>
                <a:cubicBezTo>
                  <a:pt x="3" y="25"/>
                  <a:pt x="3" y="25"/>
                  <a:pt x="3" y="25"/>
                </a:cubicBezTo>
                <a:cubicBezTo>
                  <a:pt x="2" y="25"/>
                  <a:pt x="2" y="25"/>
                  <a:pt x="2" y="25"/>
                </a:cubicBezTo>
                <a:cubicBezTo>
                  <a:pt x="0" y="16"/>
                  <a:pt x="4" y="8"/>
                  <a:pt x="4" y="0"/>
                </a:cubicBezTo>
                <a:cubicBezTo>
                  <a:pt x="4" y="8"/>
                  <a:pt x="4" y="16"/>
                  <a:pt x="4" y="25"/>
                </a:cubicBezTo>
                <a:close/>
              </a:path>
            </a:pathLst>
          </a:custGeom>
          <a:solidFill>
            <a:srgbClr val="FE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956FD36-565A-4468-BCC4-CB77852669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96201" y="124201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6278310-82AA-4E47-A510-E54DC245FB2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96201" y="5495470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BF327CC-2917-45F5-82B2-75A9F742E63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896201" y="464477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69195DA-4761-45A5-B68F-E20845F04F0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96201" y="3794090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43313FC-7C2A-4C39-A322-E5328A14AED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96201" y="294339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9E896F1-84B5-4E7A-BD88-FFAFED8559E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96201" y="2092709"/>
            <a:ext cx="3597201" cy="52488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4BCE228-ED61-DC4A-8797-D4217C8EA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1052736"/>
            <a:ext cx="5061343" cy="17670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8C920750-B531-D24A-ACD3-912494A73C0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95064" y="2860901"/>
            <a:ext cx="5060951" cy="2511425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 b="0">
                <a:solidFill>
                  <a:schemeClr val="bg1"/>
                </a:solidFill>
              </a:defRPr>
            </a:lvl3pPr>
            <a:lvl4pPr>
              <a:buClr>
                <a:schemeClr val="tx2"/>
              </a:buClr>
              <a:defRPr b="0">
                <a:solidFill>
                  <a:schemeClr val="bg1"/>
                </a:solidFill>
              </a:defRPr>
            </a:lvl4pPr>
            <a:lvl5pPr>
              <a:buClr>
                <a:schemeClr val="accent4"/>
              </a:buCl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6845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257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7">
            <a:extLst>
              <a:ext uri="{FF2B5EF4-FFF2-40B4-BE49-F238E27FC236}">
                <a16:creationId xmlns:a16="http://schemas.microsoft.com/office/drawing/2014/main" id="{786803FE-EB28-6C49-BC82-E6A2096C0E86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0"/>
            <a:ext cx="7054850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3971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2"/>
            <a:ext cx="7481888" cy="688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83975" name="Freeform 7"/>
          <p:cNvSpPr>
            <a:spLocks/>
          </p:cNvSpPr>
          <p:nvPr userDrawn="1"/>
        </p:nvSpPr>
        <p:spPr bwMode="auto">
          <a:xfrm>
            <a:off x="1651000" y="5957889"/>
            <a:ext cx="19051" cy="6351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8" y="0"/>
              </a:cxn>
              <a:cxn ang="0">
                <a:pos x="0" y="3"/>
              </a:cxn>
            </a:cxnLst>
            <a:rect l="0" t="0" r="r" b="b"/>
            <a:pathLst>
              <a:path w="8" h="3">
                <a:moveTo>
                  <a:pt x="0" y="3"/>
                </a:moveTo>
                <a:cubicBezTo>
                  <a:pt x="2" y="2"/>
                  <a:pt x="5" y="1"/>
                  <a:pt x="8" y="0"/>
                </a:cubicBezTo>
                <a:cubicBezTo>
                  <a:pt x="5" y="0"/>
                  <a:pt x="2" y="1"/>
                  <a:pt x="0" y="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2" y="2419570"/>
            <a:ext cx="4264593" cy="206357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27351" y="566057"/>
            <a:ext cx="4257564" cy="17670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Picture Placeholder 17">
            <a:extLst>
              <a:ext uri="{FF2B5EF4-FFF2-40B4-BE49-F238E27FC236}">
                <a16:creationId xmlns:a16="http://schemas.microsoft.com/office/drawing/2014/main" id="{A11CE6B2-56EB-4C86-B1D0-B791937A34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33258" y="-1"/>
            <a:ext cx="7358743" cy="6857999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7E08A85-4ADC-964B-97EE-525CC7BDBF8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accent2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31276083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50" y="1"/>
            <a:ext cx="8595375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reeform: Shape 8">
            <a:extLst>
              <a:ext uri="{FF2B5EF4-FFF2-40B4-BE49-F238E27FC236}">
                <a16:creationId xmlns:a16="http://schemas.microsoft.com/office/drawing/2014/main" id="{45848EA7-8D7C-4A7B-9182-7C1202EDBFB1}"/>
              </a:ext>
            </a:extLst>
          </p:cNvPr>
          <p:cNvSpPr/>
          <p:nvPr userDrawn="1"/>
        </p:nvSpPr>
        <p:spPr>
          <a:xfrm>
            <a:off x="5735960" y="1104901"/>
            <a:ext cx="6456041" cy="5753101"/>
          </a:xfrm>
          <a:custGeom>
            <a:avLst/>
            <a:gdLst>
              <a:gd name="connsiteX0" fmla="*/ 4389354 w 6641878"/>
              <a:gd name="connsiteY0" fmla="*/ 775 h 6125027"/>
              <a:gd name="connsiteX1" fmla="*/ 6309188 w 6641878"/>
              <a:gd name="connsiteY1" fmla="*/ 158122 h 6125027"/>
              <a:gd name="connsiteX2" fmla="*/ 6641878 w 6641878"/>
              <a:gd name="connsiteY2" fmla="*/ 218708 h 6125027"/>
              <a:gd name="connsiteX3" fmla="*/ 6641878 w 6641878"/>
              <a:gd name="connsiteY3" fmla="*/ 6125027 h 6125027"/>
              <a:gd name="connsiteX4" fmla="*/ 0 w 6641878"/>
              <a:gd name="connsiteY4" fmla="*/ 6125027 h 6125027"/>
              <a:gd name="connsiteX5" fmla="*/ 90624 w 6641878"/>
              <a:gd name="connsiteY5" fmla="*/ 5875088 h 6125027"/>
              <a:gd name="connsiteX6" fmla="*/ 3403890 w 6641878"/>
              <a:gd name="connsiteY6" fmla="*/ 22965 h 6125027"/>
              <a:gd name="connsiteX7" fmla="*/ 4389354 w 6641878"/>
              <a:gd name="connsiteY7" fmla="*/ 775 h 6125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1878" h="6125027">
                <a:moveTo>
                  <a:pt x="4389354" y="775"/>
                </a:moveTo>
                <a:cubicBezTo>
                  <a:pt x="5042595" y="7500"/>
                  <a:pt x="5686424" y="58155"/>
                  <a:pt x="6309188" y="158122"/>
                </a:cubicBezTo>
                <a:lnTo>
                  <a:pt x="6641878" y="218708"/>
                </a:lnTo>
                <a:lnTo>
                  <a:pt x="6641878" y="6125027"/>
                </a:lnTo>
                <a:lnTo>
                  <a:pt x="0" y="6125027"/>
                </a:lnTo>
                <a:lnTo>
                  <a:pt x="90624" y="5875088"/>
                </a:lnTo>
                <a:cubicBezTo>
                  <a:pt x="963229" y="3633055"/>
                  <a:pt x="2980348" y="1576261"/>
                  <a:pt x="3403890" y="22965"/>
                </a:cubicBezTo>
                <a:cubicBezTo>
                  <a:pt x="3733760" y="5034"/>
                  <a:pt x="4062734" y="-2587"/>
                  <a:pt x="4389354" y="7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B223EFB8-88D3-4227-B238-464A474B85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44701" y="3913792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74C953F-F6D9-4EEF-A914-7C47201B55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44701" y="5111407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C26CB88-1502-4963-9C3F-B1DA179217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44701" y="2611604"/>
            <a:ext cx="2994439" cy="8948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85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4E8646B-8451-4052-9B50-DB60E346C8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10764" y="3878263"/>
            <a:ext cx="4169465" cy="1459051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85000"/>
              </a:lnSpc>
              <a:defRPr sz="16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A06380E9-5885-470D-9428-A5F69B3262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35328" y="2742307"/>
            <a:ext cx="3644899" cy="974725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85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6" hasCustomPrompt="1"/>
          </p:nvPr>
        </p:nvSpPr>
        <p:spPr>
          <a:xfrm>
            <a:off x="227350" y="1148607"/>
            <a:ext cx="8595375" cy="504056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10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8323" y="6650663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70996" y="6650662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</a:rPr>
              <a:t>© Capgemini 2020. All rights reserved |</a:t>
            </a:r>
          </a:p>
        </p:txBody>
      </p:sp>
    </p:spTree>
    <p:extLst>
      <p:ext uri="{BB962C8B-B14F-4D97-AF65-F5344CB8AC3E}">
        <p14:creationId xmlns:p14="http://schemas.microsoft.com/office/powerpoint/2010/main" val="19928995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e 19">
            <a:extLst>
              <a:ext uri="{FF2B5EF4-FFF2-40B4-BE49-F238E27FC236}">
                <a16:creationId xmlns:a16="http://schemas.microsoft.com/office/drawing/2014/main" id="{4CE69D09-9C22-4448-85C2-02E508BD7190}"/>
              </a:ext>
            </a:extLst>
          </p:cNvPr>
          <p:cNvGrpSpPr/>
          <p:nvPr userDrawn="1"/>
        </p:nvGrpSpPr>
        <p:grpSpPr>
          <a:xfrm>
            <a:off x="7896200" y="0"/>
            <a:ext cx="4298195" cy="4437112"/>
            <a:chOff x="1939913" y="-84138"/>
            <a:chExt cx="4040187" cy="3327401"/>
          </a:xfrm>
        </p:grpSpPr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D17826F9-79C2-4BFF-A57F-857937C8E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0000" y="1104900"/>
              <a:ext cx="3340100" cy="2138363"/>
            </a:xfrm>
            <a:custGeom>
              <a:avLst/>
              <a:gdLst>
                <a:gd name="T0" fmla="*/ 2368 w 2370"/>
                <a:gd name="T1" fmla="*/ 1094 h 1515"/>
                <a:gd name="T2" fmla="*/ 1513 w 2370"/>
                <a:gd name="T3" fmla="*/ 77 h 1515"/>
                <a:gd name="T4" fmla="*/ 610 w 2370"/>
                <a:gd name="T5" fmla="*/ 406 h 1515"/>
                <a:gd name="T6" fmla="*/ 0 w 2370"/>
                <a:gd name="T7" fmla="*/ 453 h 1515"/>
                <a:gd name="T8" fmla="*/ 2370 w 2370"/>
                <a:gd name="T9" fmla="*/ 1515 h 1515"/>
                <a:gd name="T10" fmla="*/ 2368 w 2370"/>
                <a:gd name="T11" fmla="*/ 1094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70" h="1515">
                  <a:moveTo>
                    <a:pt x="2368" y="1094"/>
                  </a:moveTo>
                  <a:cubicBezTo>
                    <a:pt x="2084" y="923"/>
                    <a:pt x="1599" y="189"/>
                    <a:pt x="1513" y="77"/>
                  </a:cubicBezTo>
                  <a:cubicBezTo>
                    <a:pt x="1317" y="0"/>
                    <a:pt x="1008" y="177"/>
                    <a:pt x="610" y="406"/>
                  </a:cubicBezTo>
                  <a:cubicBezTo>
                    <a:pt x="240" y="620"/>
                    <a:pt x="28" y="474"/>
                    <a:pt x="0" y="453"/>
                  </a:cubicBezTo>
                  <a:cubicBezTo>
                    <a:pt x="495" y="851"/>
                    <a:pt x="1508" y="1290"/>
                    <a:pt x="2370" y="1515"/>
                  </a:cubicBezTo>
                  <a:cubicBezTo>
                    <a:pt x="2370" y="1404"/>
                    <a:pt x="2368" y="1196"/>
                    <a:pt x="2368" y="1094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A8951EB8-AF83-461C-964B-35F809C78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9913" y="-84138"/>
              <a:ext cx="4037012" cy="2733675"/>
            </a:xfrm>
            <a:custGeom>
              <a:avLst/>
              <a:gdLst>
                <a:gd name="T0" fmla="*/ 2864 w 2864"/>
                <a:gd name="T1" fmla="*/ 0 h 1936"/>
                <a:gd name="T2" fmla="*/ 511 w 2864"/>
                <a:gd name="T3" fmla="*/ 0 h 1936"/>
                <a:gd name="T4" fmla="*/ 493 w 2864"/>
                <a:gd name="T5" fmla="*/ 1292 h 1936"/>
                <a:gd name="T6" fmla="*/ 496 w 2864"/>
                <a:gd name="T7" fmla="*/ 1295 h 1936"/>
                <a:gd name="T8" fmla="*/ 1106 w 2864"/>
                <a:gd name="T9" fmla="*/ 1248 h 1936"/>
                <a:gd name="T10" fmla="*/ 2009 w 2864"/>
                <a:gd name="T11" fmla="*/ 919 h 1936"/>
                <a:gd name="T12" fmla="*/ 2864 w 2864"/>
                <a:gd name="T13" fmla="*/ 1936 h 1936"/>
                <a:gd name="T14" fmla="*/ 2864 w 2864"/>
                <a:gd name="T15" fmla="*/ 0 h 1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64" h="1936">
                  <a:moveTo>
                    <a:pt x="2864" y="0"/>
                  </a:moveTo>
                  <a:cubicBezTo>
                    <a:pt x="511" y="0"/>
                    <a:pt x="511" y="0"/>
                    <a:pt x="511" y="0"/>
                  </a:cubicBezTo>
                  <a:cubicBezTo>
                    <a:pt x="511" y="0"/>
                    <a:pt x="0" y="894"/>
                    <a:pt x="493" y="1292"/>
                  </a:cubicBezTo>
                  <a:cubicBezTo>
                    <a:pt x="494" y="1293"/>
                    <a:pt x="495" y="1294"/>
                    <a:pt x="496" y="1295"/>
                  </a:cubicBezTo>
                  <a:cubicBezTo>
                    <a:pt x="524" y="1317"/>
                    <a:pt x="736" y="1462"/>
                    <a:pt x="1106" y="1248"/>
                  </a:cubicBezTo>
                  <a:cubicBezTo>
                    <a:pt x="1504" y="1019"/>
                    <a:pt x="1813" y="842"/>
                    <a:pt x="2009" y="919"/>
                  </a:cubicBezTo>
                  <a:cubicBezTo>
                    <a:pt x="2095" y="1031"/>
                    <a:pt x="2580" y="1765"/>
                    <a:pt x="2864" y="1936"/>
                  </a:cubicBezTo>
                  <a:cubicBezTo>
                    <a:pt x="2864" y="1733"/>
                    <a:pt x="2864" y="0"/>
                    <a:pt x="2864" y="0"/>
                  </a:cubicBezTo>
                </a:path>
              </a:pathLst>
            </a:custGeom>
            <a:solidFill>
              <a:srgbClr val="0071A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350" y="-1"/>
            <a:ext cx="5551851" cy="112474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>
          <a:xfrm>
            <a:off x="227014" y="2565001"/>
            <a:ext cx="5551851" cy="3924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441625D-372B-4948-BB0E-93E08565CCF4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bg1"/>
          </a:solidFill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9E62240-8CBC-224B-9AC2-93E0F07A192C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17" name="Groupe 1">
                <a:extLst>
                  <a:ext uri="{FF2B5EF4-FFF2-40B4-BE49-F238E27FC236}">
                    <a16:creationId xmlns:a16="http://schemas.microsoft.com/office/drawing/2014/main" id="{964B340A-12B2-F341-AF9A-8573F18C9896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19" name="Freeform 13">
                  <a:extLst>
                    <a:ext uri="{FF2B5EF4-FFF2-40B4-BE49-F238E27FC236}">
                      <a16:creationId xmlns:a16="http://schemas.microsoft.com/office/drawing/2014/main" id="{4E286125-4F59-D240-8140-37E27F8157F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" name="Freeform 14">
                  <a:extLst>
                    <a:ext uri="{FF2B5EF4-FFF2-40B4-BE49-F238E27FC236}">
                      <a16:creationId xmlns:a16="http://schemas.microsoft.com/office/drawing/2014/main" id="{744993F0-D160-164A-BC92-30EB84FE377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9174ABBD-9EA4-9C49-A360-1518291DA87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81CAE0B-AABF-1246-9FD9-5C4856780C1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830167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455EBB8-DB3C-45D2-B02F-0B36A58E555B}"/>
              </a:ext>
            </a:extLst>
          </p:cNvPr>
          <p:cNvSpPr/>
          <p:nvPr userDrawn="1"/>
        </p:nvSpPr>
        <p:spPr>
          <a:xfrm>
            <a:off x="0" y="0"/>
            <a:ext cx="4749299" cy="6858000"/>
          </a:xfrm>
          <a:prstGeom prst="rect">
            <a:avLst/>
          </a:prstGeom>
          <a:solidFill>
            <a:srgbClr val="E6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sp>
        <p:nvSpPr>
          <p:cNvPr id="74761" name="Freeform 9"/>
          <p:cNvSpPr>
            <a:spLocks/>
          </p:cNvSpPr>
          <p:nvPr userDrawn="1"/>
        </p:nvSpPr>
        <p:spPr bwMode="auto">
          <a:xfrm>
            <a:off x="1" y="1"/>
            <a:ext cx="4415527" cy="3176271"/>
          </a:xfrm>
          <a:custGeom>
            <a:avLst/>
            <a:gdLst/>
            <a:ahLst/>
            <a:cxnLst>
              <a:cxn ang="0">
                <a:pos x="0" y="877"/>
              </a:cxn>
              <a:cxn ang="0">
                <a:pos x="0" y="852"/>
              </a:cxn>
              <a:cxn ang="0">
                <a:pos x="0" y="10"/>
              </a:cxn>
              <a:cxn ang="0">
                <a:pos x="0" y="0"/>
              </a:cxn>
              <a:cxn ang="0">
                <a:pos x="37" y="0"/>
              </a:cxn>
              <a:cxn ang="0">
                <a:pos x="1233" y="0"/>
              </a:cxn>
              <a:cxn ang="0">
                <a:pos x="1250" y="9"/>
              </a:cxn>
              <a:cxn ang="0">
                <a:pos x="1350" y="178"/>
              </a:cxn>
              <a:cxn ang="0">
                <a:pos x="1373" y="380"/>
              </a:cxn>
              <a:cxn ang="0">
                <a:pos x="1277" y="541"/>
              </a:cxn>
              <a:cxn ang="0">
                <a:pos x="1269" y="544"/>
              </a:cxn>
              <a:cxn ang="0">
                <a:pos x="1160" y="550"/>
              </a:cxn>
              <a:cxn ang="0">
                <a:pos x="1007" y="624"/>
              </a:cxn>
              <a:cxn ang="0">
                <a:pos x="772" y="775"/>
              </a:cxn>
              <a:cxn ang="0">
                <a:pos x="516" y="921"/>
              </a:cxn>
              <a:cxn ang="0">
                <a:pos x="289" y="988"/>
              </a:cxn>
              <a:cxn ang="0">
                <a:pos x="1" y="879"/>
              </a:cxn>
              <a:cxn ang="0">
                <a:pos x="0" y="877"/>
              </a:cxn>
            </a:cxnLst>
            <a:rect l="0" t="0" r="r" b="b"/>
            <a:pathLst>
              <a:path w="1388" h="998">
                <a:moveTo>
                  <a:pt x="0" y="877"/>
                </a:moveTo>
                <a:cubicBezTo>
                  <a:pt x="0" y="869"/>
                  <a:pt x="0" y="860"/>
                  <a:pt x="0" y="852"/>
                </a:cubicBezTo>
                <a:cubicBezTo>
                  <a:pt x="0" y="571"/>
                  <a:pt x="0" y="290"/>
                  <a:pt x="0" y="10"/>
                </a:cubicBezTo>
                <a:cubicBezTo>
                  <a:pt x="0" y="7"/>
                  <a:pt x="0" y="3"/>
                  <a:pt x="0" y="0"/>
                </a:cubicBezTo>
                <a:cubicBezTo>
                  <a:pt x="12" y="0"/>
                  <a:pt x="25" y="0"/>
                  <a:pt x="37" y="0"/>
                </a:cubicBezTo>
                <a:cubicBezTo>
                  <a:pt x="435" y="0"/>
                  <a:pt x="834" y="0"/>
                  <a:pt x="1233" y="0"/>
                </a:cubicBezTo>
                <a:cubicBezTo>
                  <a:pt x="1241" y="0"/>
                  <a:pt x="1245" y="3"/>
                  <a:pt x="1250" y="9"/>
                </a:cubicBezTo>
                <a:cubicBezTo>
                  <a:pt x="1290" y="61"/>
                  <a:pt x="1325" y="116"/>
                  <a:pt x="1350" y="178"/>
                </a:cubicBezTo>
                <a:cubicBezTo>
                  <a:pt x="1376" y="243"/>
                  <a:pt x="1388" y="310"/>
                  <a:pt x="1373" y="380"/>
                </a:cubicBezTo>
                <a:cubicBezTo>
                  <a:pt x="1359" y="445"/>
                  <a:pt x="1324" y="496"/>
                  <a:pt x="1277" y="541"/>
                </a:cubicBezTo>
                <a:cubicBezTo>
                  <a:pt x="1275" y="543"/>
                  <a:pt x="1273" y="545"/>
                  <a:pt x="1269" y="544"/>
                </a:cubicBezTo>
                <a:cubicBezTo>
                  <a:pt x="1232" y="532"/>
                  <a:pt x="1196" y="539"/>
                  <a:pt x="1160" y="550"/>
                </a:cubicBezTo>
                <a:cubicBezTo>
                  <a:pt x="1106" y="568"/>
                  <a:pt x="1056" y="595"/>
                  <a:pt x="1007" y="624"/>
                </a:cubicBezTo>
                <a:cubicBezTo>
                  <a:pt x="927" y="672"/>
                  <a:pt x="850" y="725"/>
                  <a:pt x="772" y="775"/>
                </a:cubicBezTo>
                <a:cubicBezTo>
                  <a:pt x="689" y="828"/>
                  <a:pt x="605" y="879"/>
                  <a:pt x="516" y="921"/>
                </a:cubicBezTo>
                <a:cubicBezTo>
                  <a:pt x="443" y="954"/>
                  <a:pt x="369" y="980"/>
                  <a:pt x="289" y="988"/>
                </a:cubicBezTo>
                <a:cubicBezTo>
                  <a:pt x="175" y="998"/>
                  <a:pt x="79" y="962"/>
                  <a:pt x="1" y="879"/>
                </a:cubicBezTo>
                <a:cubicBezTo>
                  <a:pt x="0" y="879"/>
                  <a:pt x="0" y="878"/>
                  <a:pt x="0" y="877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"/>
            <a:ext cx="3633451" cy="230777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49BCD6-E419-4ED2-9061-402DD5FF24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1351" y="3420284"/>
            <a:ext cx="4286595" cy="2993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F6EE60C-2261-45A0-AD6F-B5F767C57B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81371" y="1245494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81372" y="1664448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3D9B326-443F-495A-B788-21C48AC85A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81371" y="4647263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0358894-025F-4D0E-AF6E-F99EDF29800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81372" y="5066217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E5AF299-5A92-48E3-B18F-F7FE7AB9EED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81371" y="2984557"/>
            <a:ext cx="4020459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rgbClr val="0070AD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951F368-6540-4675-9A52-0824638E0EF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81372" y="3403512"/>
            <a:ext cx="4020459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7C16A20-D927-494E-94A9-49AF2E1FA0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713877" y="176796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6BACCD-6FBF-486E-81CB-3462560DA2C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13877" y="3417398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E9C506-31EA-4D04-B660-3B4DB070411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13877" y="5107842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rgbClr val="2C004B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AA80BC8-6FF9-4F8F-8F1E-9CF4438D0989}"/>
              </a:ext>
            </a:extLst>
          </p:cNvPr>
          <p:cNvSpPr txBox="1">
            <a:spLocks/>
          </p:cNvSpPr>
          <p:nvPr userDrawn="1"/>
        </p:nvSpPr>
        <p:spPr>
          <a:xfrm>
            <a:off x="227348" y="6669360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tx1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30800178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50C01FB-E2BF-4470-A153-6F7BF3CCF3F9}"/>
              </a:ext>
            </a:extLst>
          </p:cNvPr>
          <p:cNvSpPr/>
          <p:nvPr userDrawn="1"/>
        </p:nvSpPr>
        <p:spPr>
          <a:xfrm>
            <a:off x="0" y="4449424"/>
            <a:ext cx="12192000" cy="2420888"/>
          </a:xfrm>
          <a:prstGeom prst="rect">
            <a:avLst/>
          </a:prstGeom>
          <a:gradFill>
            <a:gsLst>
              <a:gs pos="0">
                <a:schemeClr val="bg1"/>
              </a:gs>
              <a:gs pos="15928">
                <a:schemeClr val="bg1"/>
              </a:gs>
              <a:gs pos="44000">
                <a:schemeClr val="bg2">
                  <a:lumMod val="90000"/>
                  <a:alpha val="51000"/>
                </a:schemeClr>
              </a:gs>
              <a:gs pos="100000">
                <a:schemeClr val="bg2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4F8F9B7-22AF-440B-AF0A-78B650932C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91544" y="1700808"/>
            <a:ext cx="9088323" cy="3600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343BDF6-D0DB-4726-8EA9-DA3DE0DFDE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983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B423489-C448-4223-A3F1-FAB0DF95C7E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474465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15D3B99-29BD-4D4A-BD25-28628B5AD29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1894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B92CCBF-AD9B-4B1F-81E0-1F58CD47699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6342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29263E9-C628-4DAE-AAF4-D4C456E5A7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007907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66B7D82-19EF-4C8A-8D75-AEA2758E42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52390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"/>
            <a:ext cx="1016488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7840" name="Freeform 16"/>
          <p:cNvSpPr>
            <a:spLocks/>
          </p:cNvSpPr>
          <p:nvPr userDrawn="1"/>
        </p:nvSpPr>
        <p:spPr bwMode="auto">
          <a:xfrm>
            <a:off x="10200457" y="0"/>
            <a:ext cx="1991544" cy="5403135"/>
          </a:xfrm>
          <a:custGeom>
            <a:avLst/>
            <a:gdLst/>
            <a:ahLst/>
            <a:cxnLst>
              <a:cxn ang="0">
                <a:pos x="549" y="29"/>
              </a:cxn>
              <a:cxn ang="0">
                <a:pos x="549" y="18"/>
              </a:cxn>
              <a:cxn ang="0">
                <a:pos x="549" y="10"/>
              </a:cxn>
              <a:cxn ang="0">
                <a:pos x="539" y="1"/>
              </a:cxn>
              <a:cxn ang="0">
                <a:pos x="103" y="1"/>
              </a:cxn>
              <a:cxn ang="0">
                <a:pos x="93" y="2"/>
              </a:cxn>
              <a:cxn ang="0">
                <a:pos x="5" y="75"/>
              </a:cxn>
              <a:cxn ang="0">
                <a:pos x="4" y="85"/>
              </a:cxn>
              <a:cxn ang="0">
                <a:pos x="27" y="154"/>
              </a:cxn>
              <a:cxn ang="0">
                <a:pos x="68" y="421"/>
              </a:cxn>
              <a:cxn ang="0">
                <a:pos x="96" y="764"/>
              </a:cxn>
              <a:cxn ang="0">
                <a:pos x="138" y="1074"/>
              </a:cxn>
              <a:cxn ang="0">
                <a:pos x="227" y="1353"/>
              </a:cxn>
              <a:cxn ang="0">
                <a:pos x="420" y="1611"/>
              </a:cxn>
              <a:cxn ang="0">
                <a:pos x="537" y="1689"/>
              </a:cxn>
              <a:cxn ang="0">
                <a:pos x="544" y="1695"/>
              </a:cxn>
              <a:cxn ang="0">
                <a:pos x="549" y="1691"/>
              </a:cxn>
              <a:cxn ang="0">
                <a:pos x="549" y="1666"/>
              </a:cxn>
              <a:cxn ang="0">
                <a:pos x="549" y="29"/>
              </a:cxn>
            </a:cxnLst>
            <a:rect l="0" t="0" r="r" b="b"/>
            <a:pathLst>
              <a:path w="551" h="1696">
                <a:moveTo>
                  <a:pt x="549" y="29"/>
                </a:moveTo>
                <a:cubicBezTo>
                  <a:pt x="549" y="25"/>
                  <a:pt x="549" y="22"/>
                  <a:pt x="549" y="18"/>
                </a:cubicBezTo>
                <a:cubicBezTo>
                  <a:pt x="549" y="16"/>
                  <a:pt x="549" y="13"/>
                  <a:pt x="549" y="10"/>
                </a:cubicBezTo>
                <a:cubicBezTo>
                  <a:pt x="551" y="2"/>
                  <a:pt x="547" y="1"/>
                  <a:pt x="539" y="1"/>
                </a:cubicBezTo>
                <a:cubicBezTo>
                  <a:pt x="394" y="1"/>
                  <a:pt x="248" y="1"/>
                  <a:pt x="103" y="1"/>
                </a:cubicBezTo>
                <a:cubicBezTo>
                  <a:pt x="100" y="1"/>
                  <a:pt x="96" y="0"/>
                  <a:pt x="93" y="2"/>
                </a:cubicBezTo>
                <a:cubicBezTo>
                  <a:pt x="63" y="25"/>
                  <a:pt x="34" y="50"/>
                  <a:pt x="5" y="75"/>
                </a:cubicBezTo>
                <a:cubicBezTo>
                  <a:pt x="0" y="79"/>
                  <a:pt x="2" y="82"/>
                  <a:pt x="4" y="85"/>
                </a:cubicBezTo>
                <a:cubicBezTo>
                  <a:pt x="13" y="108"/>
                  <a:pt x="20" y="131"/>
                  <a:pt x="27" y="154"/>
                </a:cubicBezTo>
                <a:cubicBezTo>
                  <a:pt x="50" y="242"/>
                  <a:pt x="61" y="331"/>
                  <a:pt x="68" y="421"/>
                </a:cubicBezTo>
                <a:cubicBezTo>
                  <a:pt x="78" y="535"/>
                  <a:pt x="86" y="649"/>
                  <a:pt x="96" y="764"/>
                </a:cubicBezTo>
                <a:cubicBezTo>
                  <a:pt x="104" y="868"/>
                  <a:pt x="117" y="972"/>
                  <a:pt x="138" y="1074"/>
                </a:cubicBezTo>
                <a:cubicBezTo>
                  <a:pt x="158" y="1170"/>
                  <a:pt x="185" y="1264"/>
                  <a:pt x="227" y="1353"/>
                </a:cubicBezTo>
                <a:cubicBezTo>
                  <a:pt x="274" y="1453"/>
                  <a:pt x="336" y="1540"/>
                  <a:pt x="420" y="1611"/>
                </a:cubicBezTo>
                <a:cubicBezTo>
                  <a:pt x="456" y="1641"/>
                  <a:pt x="495" y="1668"/>
                  <a:pt x="537" y="1689"/>
                </a:cubicBezTo>
                <a:cubicBezTo>
                  <a:pt x="538" y="1692"/>
                  <a:pt x="541" y="1693"/>
                  <a:pt x="544" y="1695"/>
                </a:cubicBezTo>
                <a:cubicBezTo>
                  <a:pt x="548" y="1696"/>
                  <a:pt x="550" y="1694"/>
                  <a:pt x="549" y="1691"/>
                </a:cubicBezTo>
                <a:cubicBezTo>
                  <a:pt x="545" y="1683"/>
                  <a:pt x="549" y="1675"/>
                  <a:pt x="549" y="1666"/>
                </a:cubicBezTo>
                <a:cubicBezTo>
                  <a:pt x="549" y="1120"/>
                  <a:pt x="549" y="575"/>
                  <a:pt x="549" y="29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91544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799857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08169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1EC8743-B0F7-204B-B8E0-FD1CFD3C228D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bg1"/>
          </a:solidFill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09686F6-AD9C-3B41-ABE3-CFA95F071140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23" name="Groupe 1">
                <a:extLst>
                  <a:ext uri="{FF2B5EF4-FFF2-40B4-BE49-F238E27FC236}">
                    <a16:creationId xmlns:a16="http://schemas.microsoft.com/office/drawing/2014/main" id="{1259E960-EB0D-884C-A0B7-509147EE72BB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25" name="Freeform 13">
                  <a:extLst>
                    <a:ext uri="{FF2B5EF4-FFF2-40B4-BE49-F238E27FC236}">
                      <a16:creationId xmlns:a16="http://schemas.microsoft.com/office/drawing/2014/main" id="{60D0F51F-F2D0-8F49-B3EC-E9ADA7CF0E0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Freeform 14">
                  <a:extLst>
                    <a:ext uri="{FF2B5EF4-FFF2-40B4-BE49-F238E27FC236}">
                      <a16:creationId xmlns:a16="http://schemas.microsoft.com/office/drawing/2014/main" id="{BF0CA0C9-C13F-5C4E-86AC-859C75D36C7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F0D58D1-C9DF-DA41-BAF1-02D20B16C8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65E08AC-71EF-E549-BB32-B3D989E870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tângulo 43">
            <a:extLst>
              <a:ext uri="{FF2B5EF4-FFF2-40B4-BE49-F238E27FC236}">
                <a16:creationId xmlns:a16="http://schemas.microsoft.com/office/drawing/2014/main" id="{5FAEF51D-E2AA-480B-A56C-1CE7293EB4B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10BFD3C-EEC0-4DD2-9DCA-6DD23921F22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292046D3-21F2-4D80-8D8C-8DB885569909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solidFill>
                  <a:schemeClr val="tx1"/>
                </a:solidFill>
              </a:rPr>
              <a:t>Presentation Title | Author | Date</a:t>
            </a:r>
          </a:p>
        </p:txBody>
      </p:sp>
    </p:spTree>
    <p:extLst>
      <p:ext uri="{BB962C8B-B14F-4D97-AF65-F5344CB8AC3E}">
        <p14:creationId xmlns:p14="http://schemas.microsoft.com/office/powerpoint/2010/main" val="35626835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50C01FB-E2BF-4470-A153-6F7BF3CCF3F9}"/>
              </a:ext>
            </a:extLst>
          </p:cNvPr>
          <p:cNvSpPr/>
          <p:nvPr userDrawn="1"/>
        </p:nvSpPr>
        <p:spPr>
          <a:xfrm>
            <a:off x="0" y="4449424"/>
            <a:ext cx="12192000" cy="2420888"/>
          </a:xfrm>
          <a:prstGeom prst="rect">
            <a:avLst/>
          </a:prstGeom>
          <a:gradFill>
            <a:gsLst>
              <a:gs pos="0">
                <a:schemeClr val="bg1"/>
              </a:gs>
              <a:gs pos="15928">
                <a:schemeClr val="bg1"/>
              </a:gs>
              <a:gs pos="44000">
                <a:schemeClr val="bg2">
                  <a:lumMod val="90000"/>
                  <a:alpha val="51000"/>
                </a:schemeClr>
              </a:gs>
              <a:gs pos="100000">
                <a:schemeClr val="bg2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351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4F8F9B7-22AF-440B-AF0A-78B650932C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91544" y="1700808"/>
            <a:ext cx="9088323" cy="36004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343BDF6-D0DB-4726-8EA9-DA3DE0DFDE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983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B423489-C448-4223-A3F1-FAB0DF95C7E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474465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15D3B99-29BD-4D4A-BD25-28628B5AD29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1894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B92CCBF-AD9B-4B1F-81E0-1F58CD47699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63426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429263E9-C628-4DAE-AAF4-D4C456E5A7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007907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66B7D82-19EF-4C8A-8D75-AEA2758E42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52390" y="5661248"/>
            <a:ext cx="1692449" cy="43204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85000"/>
              </a:lnSpc>
              <a:defRPr sz="13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1"/>
            <a:ext cx="10164880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7840" name="Freeform 16"/>
          <p:cNvSpPr>
            <a:spLocks/>
          </p:cNvSpPr>
          <p:nvPr userDrawn="1"/>
        </p:nvSpPr>
        <p:spPr bwMode="auto">
          <a:xfrm>
            <a:off x="10200457" y="0"/>
            <a:ext cx="1991544" cy="1936551"/>
          </a:xfrm>
          <a:custGeom>
            <a:avLst/>
            <a:gdLst/>
            <a:ahLst/>
            <a:cxnLst>
              <a:cxn ang="0">
                <a:pos x="549" y="29"/>
              </a:cxn>
              <a:cxn ang="0">
                <a:pos x="549" y="18"/>
              </a:cxn>
              <a:cxn ang="0">
                <a:pos x="549" y="10"/>
              </a:cxn>
              <a:cxn ang="0">
                <a:pos x="539" y="1"/>
              </a:cxn>
              <a:cxn ang="0">
                <a:pos x="103" y="1"/>
              </a:cxn>
              <a:cxn ang="0">
                <a:pos x="93" y="2"/>
              </a:cxn>
              <a:cxn ang="0">
                <a:pos x="5" y="75"/>
              </a:cxn>
              <a:cxn ang="0">
                <a:pos x="4" y="85"/>
              </a:cxn>
              <a:cxn ang="0">
                <a:pos x="27" y="154"/>
              </a:cxn>
              <a:cxn ang="0">
                <a:pos x="68" y="421"/>
              </a:cxn>
              <a:cxn ang="0">
                <a:pos x="96" y="764"/>
              </a:cxn>
              <a:cxn ang="0">
                <a:pos x="138" y="1074"/>
              </a:cxn>
              <a:cxn ang="0">
                <a:pos x="227" y="1353"/>
              </a:cxn>
              <a:cxn ang="0">
                <a:pos x="420" y="1611"/>
              </a:cxn>
              <a:cxn ang="0">
                <a:pos x="537" y="1689"/>
              </a:cxn>
              <a:cxn ang="0">
                <a:pos x="544" y="1695"/>
              </a:cxn>
              <a:cxn ang="0">
                <a:pos x="549" y="1691"/>
              </a:cxn>
              <a:cxn ang="0">
                <a:pos x="549" y="1666"/>
              </a:cxn>
              <a:cxn ang="0">
                <a:pos x="549" y="29"/>
              </a:cxn>
            </a:cxnLst>
            <a:rect l="0" t="0" r="r" b="b"/>
            <a:pathLst>
              <a:path w="551" h="1696">
                <a:moveTo>
                  <a:pt x="549" y="29"/>
                </a:moveTo>
                <a:cubicBezTo>
                  <a:pt x="549" y="25"/>
                  <a:pt x="549" y="22"/>
                  <a:pt x="549" y="18"/>
                </a:cubicBezTo>
                <a:cubicBezTo>
                  <a:pt x="549" y="16"/>
                  <a:pt x="549" y="13"/>
                  <a:pt x="549" y="10"/>
                </a:cubicBezTo>
                <a:cubicBezTo>
                  <a:pt x="551" y="2"/>
                  <a:pt x="547" y="1"/>
                  <a:pt x="539" y="1"/>
                </a:cubicBezTo>
                <a:cubicBezTo>
                  <a:pt x="394" y="1"/>
                  <a:pt x="248" y="1"/>
                  <a:pt x="103" y="1"/>
                </a:cubicBezTo>
                <a:cubicBezTo>
                  <a:pt x="100" y="1"/>
                  <a:pt x="96" y="0"/>
                  <a:pt x="93" y="2"/>
                </a:cubicBezTo>
                <a:cubicBezTo>
                  <a:pt x="63" y="25"/>
                  <a:pt x="34" y="50"/>
                  <a:pt x="5" y="75"/>
                </a:cubicBezTo>
                <a:cubicBezTo>
                  <a:pt x="0" y="79"/>
                  <a:pt x="2" y="82"/>
                  <a:pt x="4" y="85"/>
                </a:cubicBezTo>
                <a:cubicBezTo>
                  <a:pt x="13" y="108"/>
                  <a:pt x="20" y="131"/>
                  <a:pt x="27" y="154"/>
                </a:cubicBezTo>
                <a:cubicBezTo>
                  <a:pt x="50" y="242"/>
                  <a:pt x="61" y="331"/>
                  <a:pt x="68" y="421"/>
                </a:cubicBezTo>
                <a:cubicBezTo>
                  <a:pt x="78" y="535"/>
                  <a:pt x="86" y="649"/>
                  <a:pt x="96" y="764"/>
                </a:cubicBezTo>
                <a:cubicBezTo>
                  <a:pt x="104" y="868"/>
                  <a:pt x="117" y="972"/>
                  <a:pt x="138" y="1074"/>
                </a:cubicBezTo>
                <a:cubicBezTo>
                  <a:pt x="158" y="1170"/>
                  <a:pt x="185" y="1264"/>
                  <a:pt x="227" y="1353"/>
                </a:cubicBezTo>
                <a:cubicBezTo>
                  <a:pt x="274" y="1453"/>
                  <a:pt x="336" y="1540"/>
                  <a:pt x="420" y="1611"/>
                </a:cubicBezTo>
                <a:cubicBezTo>
                  <a:pt x="456" y="1641"/>
                  <a:pt x="495" y="1668"/>
                  <a:pt x="537" y="1689"/>
                </a:cubicBezTo>
                <a:cubicBezTo>
                  <a:pt x="538" y="1692"/>
                  <a:pt x="541" y="1693"/>
                  <a:pt x="544" y="1695"/>
                </a:cubicBezTo>
                <a:cubicBezTo>
                  <a:pt x="548" y="1696"/>
                  <a:pt x="550" y="1694"/>
                  <a:pt x="549" y="1691"/>
                </a:cubicBezTo>
                <a:cubicBezTo>
                  <a:pt x="545" y="1683"/>
                  <a:pt x="549" y="1675"/>
                  <a:pt x="549" y="1666"/>
                </a:cubicBezTo>
                <a:cubicBezTo>
                  <a:pt x="549" y="1120"/>
                  <a:pt x="549" y="575"/>
                  <a:pt x="549" y="29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351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91544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799857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BE7F41D-73F9-4353-AE3F-71AB8377048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08169" y="2493916"/>
            <a:ext cx="2592288" cy="167030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 sz="1200"/>
            </a:lvl1pPr>
            <a:lvl2pPr>
              <a:lnSpc>
                <a:spcPct val="150000"/>
              </a:lnSpc>
              <a:spcBef>
                <a:spcPts val="0"/>
              </a:spcBef>
              <a:defRPr sz="1200"/>
            </a:lvl2pPr>
            <a:lvl3pPr>
              <a:lnSpc>
                <a:spcPct val="150000"/>
              </a:lnSpc>
              <a:spcBef>
                <a:spcPts val="0"/>
              </a:spcBef>
              <a:defRPr sz="1200"/>
            </a:lvl3pPr>
            <a:lvl4pPr>
              <a:lnSpc>
                <a:spcPct val="15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1EC8743-B0F7-204B-B8E0-FD1CFD3C228D}"/>
              </a:ext>
            </a:extLst>
          </p:cNvPr>
          <p:cNvGrpSpPr/>
          <p:nvPr userDrawn="1"/>
        </p:nvGrpSpPr>
        <p:grpSpPr>
          <a:xfrm>
            <a:off x="10848528" y="260648"/>
            <a:ext cx="956632" cy="576064"/>
            <a:chOff x="10848528" y="188640"/>
            <a:chExt cx="956632" cy="576064"/>
          </a:xfrm>
          <a:solidFill>
            <a:schemeClr val="bg1"/>
          </a:solidFill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09686F6-AD9C-3B41-ABE3-CFA95F071140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  <a:grpFill/>
          </p:grpSpPr>
          <p:grpSp>
            <p:nvGrpSpPr>
              <p:cNvPr id="23" name="Groupe 1">
                <a:extLst>
                  <a:ext uri="{FF2B5EF4-FFF2-40B4-BE49-F238E27FC236}">
                    <a16:creationId xmlns:a16="http://schemas.microsoft.com/office/drawing/2014/main" id="{1259E960-EB0D-884C-A0B7-509147EE72BB}"/>
                  </a:ext>
                </a:extLst>
              </p:cNvPr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  <a:grpFill/>
            </p:grpSpPr>
            <p:sp>
              <p:nvSpPr>
                <p:cNvPr id="25" name="Freeform 13">
                  <a:extLst>
                    <a:ext uri="{FF2B5EF4-FFF2-40B4-BE49-F238E27FC236}">
                      <a16:creationId xmlns:a16="http://schemas.microsoft.com/office/drawing/2014/main" id="{60D0F51F-F2D0-8F49-B3EC-E9ADA7CF0E0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Freeform 14">
                  <a:extLst>
                    <a:ext uri="{FF2B5EF4-FFF2-40B4-BE49-F238E27FC236}">
                      <a16:creationId xmlns:a16="http://schemas.microsoft.com/office/drawing/2014/main" id="{BF0CA0C9-C13F-5C4E-86AC-859C75D36C7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F0D58D1-C9DF-DA41-BAF1-02D20B16C8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grpFill/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65E08AC-71EF-E549-BB32-B3D989E870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tângulo 43">
            <a:extLst>
              <a:ext uri="{FF2B5EF4-FFF2-40B4-BE49-F238E27FC236}">
                <a16:creationId xmlns:a16="http://schemas.microsoft.com/office/drawing/2014/main" id="{5FAEF51D-E2AA-480B-A56C-1CE7293EB4B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10BFD3C-EEC0-4DD2-9DCA-6DD23921F224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40317694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e 1">
            <a:extLst>
              <a:ext uri="{FF2B5EF4-FFF2-40B4-BE49-F238E27FC236}">
                <a16:creationId xmlns:a16="http://schemas.microsoft.com/office/drawing/2014/main" id="{842A035B-AA1E-4F24-B3E3-842B022E9FF8}"/>
              </a:ext>
            </a:extLst>
          </p:cNvPr>
          <p:cNvGrpSpPr/>
          <p:nvPr/>
        </p:nvGrpSpPr>
        <p:grpSpPr>
          <a:xfrm flipH="1">
            <a:off x="6578328" y="767"/>
            <a:ext cx="5613672" cy="6884617"/>
            <a:chOff x="1588" y="-3175"/>
            <a:chExt cx="7485063" cy="6889750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B9797FE-FEA0-4A06-B2BF-6AD3BC397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8" y="-3175"/>
              <a:ext cx="5280025" cy="6889750"/>
            </a:xfrm>
            <a:custGeom>
              <a:avLst/>
              <a:gdLst/>
              <a:ahLst/>
              <a:cxnLst>
                <a:cxn ang="0">
                  <a:pos x="1" y="2835"/>
                </a:cxn>
                <a:cxn ang="0">
                  <a:pos x="149" y="2735"/>
                </a:cxn>
                <a:cxn ang="0">
                  <a:pos x="393" y="2614"/>
                </a:cxn>
                <a:cxn ang="0">
                  <a:pos x="663" y="2508"/>
                </a:cxn>
                <a:cxn ang="0">
                  <a:pos x="691" y="2498"/>
                </a:cxn>
                <a:cxn ang="0">
                  <a:pos x="699" y="2495"/>
                </a:cxn>
                <a:cxn ang="0">
                  <a:pos x="814" y="2453"/>
                </a:cxn>
                <a:cxn ang="0">
                  <a:pos x="1047" y="2369"/>
                </a:cxn>
                <a:cxn ang="0">
                  <a:pos x="1208" y="2307"/>
                </a:cxn>
                <a:cxn ang="0">
                  <a:pos x="1405" y="2222"/>
                </a:cxn>
                <a:cxn ang="0">
                  <a:pos x="1549" y="2149"/>
                </a:cxn>
                <a:cxn ang="0">
                  <a:pos x="1664" y="2081"/>
                </a:cxn>
                <a:cxn ang="0">
                  <a:pos x="1772" y="2004"/>
                </a:cxn>
                <a:cxn ang="0">
                  <a:pos x="1889" y="1903"/>
                </a:cxn>
                <a:cxn ang="0">
                  <a:pos x="2001" y="1776"/>
                </a:cxn>
                <a:cxn ang="0">
                  <a:pos x="2058" y="1691"/>
                </a:cxn>
                <a:cxn ang="0">
                  <a:pos x="2116" y="1571"/>
                </a:cxn>
                <a:cxn ang="0">
                  <a:pos x="2170" y="1375"/>
                </a:cxn>
                <a:cxn ang="0">
                  <a:pos x="2199" y="1207"/>
                </a:cxn>
                <a:cxn ang="0">
                  <a:pos x="2206" y="940"/>
                </a:cxn>
                <a:cxn ang="0">
                  <a:pos x="2179" y="751"/>
                </a:cxn>
                <a:cxn ang="0">
                  <a:pos x="2123" y="578"/>
                </a:cxn>
                <a:cxn ang="0">
                  <a:pos x="2068" y="464"/>
                </a:cxn>
                <a:cxn ang="0">
                  <a:pos x="2010" y="370"/>
                </a:cxn>
                <a:cxn ang="0">
                  <a:pos x="1957" y="298"/>
                </a:cxn>
                <a:cxn ang="0">
                  <a:pos x="1843" y="174"/>
                </a:cxn>
                <a:cxn ang="0">
                  <a:pos x="1733" y="77"/>
                </a:cxn>
                <a:cxn ang="0">
                  <a:pos x="1630" y="0"/>
                </a:cxn>
                <a:cxn ang="0">
                  <a:pos x="0" y="0"/>
                </a:cxn>
                <a:cxn ang="0">
                  <a:pos x="0" y="2884"/>
                </a:cxn>
                <a:cxn ang="0">
                  <a:pos x="1" y="2884"/>
                </a:cxn>
                <a:cxn ang="0">
                  <a:pos x="1" y="2835"/>
                </a:cxn>
              </a:cxnLst>
              <a:rect l="0" t="0" r="r" b="b"/>
              <a:pathLst>
                <a:path w="2212" h="2884">
                  <a:moveTo>
                    <a:pt x="1" y="2835"/>
                  </a:moveTo>
                  <a:cubicBezTo>
                    <a:pt x="48" y="2798"/>
                    <a:pt x="98" y="2765"/>
                    <a:pt x="149" y="2735"/>
                  </a:cubicBezTo>
                  <a:cubicBezTo>
                    <a:pt x="228" y="2689"/>
                    <a:pt x="309" y="2650"/>
                    <a:pt x="393" y="2614"/>
                  </a:cubicBezTo>
                  <a:cubicBezTo>
                    <a:pt x="482" y="2576"/>
                    <a:pt x="572" y="2541"/>
                    <a:pt x="663" y="2508"/>
                  </a:cubicBezTo>
                  <a:cubicBezTo>
                    <a:pt x="672" y="2505"/>
                    <a:pt x="682" y="2501"/>
                    <a:pt x="691" y="2498"/>
                  </a:cubicBezTo>
                  <a:cubicBezTo>
                    <a:pt x="693" y="2496"/>
                    <a:pt x="696" y="2495"/>
                    <a:pt x="699" y="2495"/>
                  </a:cubicBezTo>
                  <a:cubicBezTo>
                    <a:pt x="737" y="2481"/>
                    <a:pt x="776" y="2467"/>
                    <a:pt x="814" y="2453"/>
                  </a:cubicBezTo>
                  <a:cubicBezTo>
                    <a:pt x="892" y="2425"/>
                    <a:pt x="969" y="2397"/>
                    <a:pt x="1047" y="2369"/>
                  </a:cubicBezTo>
                  <a:cubicBezTo>
                    <a:pt x="1101" y="2349"/>
                    <a:pt x="1155" y="2328"/>
                    <a:pt x="1208" y="2307"/>
                  </a:cubicBezTo>
                  <a:cubicBezTo>
                    <a:pt x="1274" y="2281"/>
                    <a:pt x="1340" y="2253"/>
                    <a:pt x="1405" y="2222"/>
                  </a:cubicBezTo>
                  <a:cubicBezTo>
                    <a:pt x="1453" y="2200"/>
                    <a:pt x="1501" y="2176"/>
                    <a:pt x="1549" y="2149"/>
                  </a:cubicBezTo>
                  <a:cubicBezTo>
                    <a:pt x="1588" y="2127"/>
                    <a:pt x="1626" y="2105"/>
                    <a:pt x="1664" y="2081"/>
                  </a:cubicBezTo>
                  <a:cubicBezTo>
                    <a:pt x="1701" y="2057"/>
                    <a:pt x="1737" y="2032"/>
                    <a:pt x="1772" y="2004"/>
                  </a:cubicBezTo>
                  <a:cubicBezTo>
                    <a:pt x="1813" y="1973"/>
                    <a:pt x="1852" y="1940"/>
                    <a:pt x="1889" y="1903"/>
                  </a:cubicBezTo>
                  <a:cubicBezTo>
                    <a:pt x="1929" y="1864"/>
                    <a:pt x="1967" y="1821"/>
                    <a:pt x="2001" y="1776"/>
                  </a:cubicBezTo>
                  <a:cubicBezTo>
                    <a:pt x="2022" y="1749"/>
                    <a:pt x="2039" y="1719"/>
                    <a:pt x="2058" y="1691"/>
                  </a:cubicBezTo>
                  <a:cubicBezTo>
                    <a:pt x="2082" y="1653"/>
                    <a:pt x="2101" y="1613"/>
                    <a:pt x="2116" y="1571"/>
                  </a:cubicBezTo>
                  <a:cubicBezTo>
                    <a:pt x="2140" y="1507"/>
                    <a:pt x="2153" y="1441"/>
                    <a:pt x="2170" y="1375"/>
                  </a:cubicBezTo>
                  <a:cubicBezTo>
                    <a:pt x="2184" y="1320"/>
                    <a:pt x="2192" y="1264"/>
                    <a:pt x="2199" y="1207"/>
                  </a:cubicBezTo>
                  <a:cubicBezTo>
                    <a:pt x="2210" y="1118"/>
                    <a:pt x="2212" y="1029"/>
                    <a:pt x="2206" y="940"/>
                  </a:cubicBezTo>
                  <a:cubicBezTo>
                    <a:pt x="2202" y="876"/>
                    <a:pt x="2195" y="813"/>
                    <a:pt x="2179" y="751"/>
                  </a:cubicBezTo>
                  <a:cubicBezTo>
                    <a:pt x="2164" y="692"/>
                    <a:pt x="2148" y="633"/>
                    <a:pt x="2123" y="578"/>
                  </a:cubicBezTo>
                  <a:cubicBezTo>
                    <a:pt x="2106" y="539"/>
                    <a:pt x="2090" y="500"/>
                    <a:pt x="2068" y="464"/>
                  </a:cubicBezTo>
                  <a:cubicBezTo>
                    <a:pt x="2050" y="432"/>
                    <a:pt x="2032" y="400"/>
                    <a:pt x="2010" y="370"/>
                  </a:cubicBezTo>
                  <a:cubicBezTo>
                    <a:pt x="1993" y="346"/>
                    <a:pt x="1976" y="321"/>
                    <a:pt x="1957" y="298"/>
                  </a:cubicBezTo>
                  <a:cubicBezTo>
                    <a:pt x="1921" y="255"/>
                    <a:pt x="1884" y="213"/>
                    <a:pt x="1843" y="174"/>
                  </a:cubicBezTo>
                  <a:cubicBezTo>
                    <a:pt x="1808" y="140"/>
                    <a:pt x="1772" y="107"/>
                    <a:pt x="1733" y="77"/>
                  </a:cubicBezTo>
                  <a:cubicBezTo>
                    <a:pt x="1699" y="50"/>
                    <a:pt x="1665" y="25"/>
                    <a:pt x="16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61"/>
                    <a:pt x="0" y="1923"/>
                    <a:pt x="0" y="2884"/>
                  </a:cubicBezTo>
                  <a:cubicBezTo>
                    <a:pt x="1" y="2884"/>
                    <a:pt x="1" y="2884"/>
                    <a:pt x="1" y="2884"/>
                  </a:cubicBezTo>
                  <a:cubicBezTo>
                    <a:pt x="1" y="2868"/>
                    <a:pt x="1" y="2852"/>
                    <a:pt x="1" y="283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9095FD91-ECEE-4670-9264-336915F24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-3175"/>
              <a:ext cx="7481888" cy="6889750"/>
            </a:xfrm>
            <a:custGeom>
              <a:avLst/>
              <a:gdLst/>
              <a:ahLst/>
              <a:cxnLst>
                <a:cxn ang="0">
                  <a:pos x="3123" y="2136"/>
                </a:cxn>
                <a:cxn ang="0">
                  <a:pos x="3069" y="1788"/>
                </a:cxn>
                <a:cxn ang="0">
                  <a:pos x="3010" y="1567"/>
                </a:cxn>
                <a:cxn ang="0">
                  <a:pos x="2955" y="1406"/>
                </a:cxn>
                <a:cxn ang="0">
                  <a:pos x="2899" y="1268"/>
                </a:cxn>
                <a:cxn ang="0">
                  <a:pos x="2842" y="1144"/>
                </a:cxn>
                <a:cxn ang="0">
                  <a:pos x="2785" y="1036"/>
                </a:cxn>
                <a:cxn ang="0">
                  <a:pos x="2731" y="941"/>
                </a:cxn>
                <a:cxn ang="0">
                  <a:pos x="2673" y="849"/>
                </a:cxn>
                <a:cxn ang="0">
                  <a:pos x="2618" y="768"/>
                </a:cxn>
                <a:cxn ang="0">
                  <a:pos x="2561" y="691"/>
                </a:cxn>
                <a:cxn ang="0">
                  <a:pos x="2505" y="620"/>
                </a:cxn>
                <a:cxn ang="0">
                  <a:pos x="2394" y="493"/>
                </a:cxn>
                <a:cxn ang="0">
                  <a:pos x="2393" y="492"/>
                </a:cxn>
                <a:cxn ang="0">
                  <a:pos x="2336" y="432"/>
                </a:cxn>
                <a:cxn ang="0">
                  <a:pos x="2222" y="324"/>
                </a:cxn>
                <a:cxn ang="0">
                  <a:pos x="2112" y="231"/>
                </a:cxn>
                <a:cxn ang="0">
                  <a:pos x="1997" y="144"/>
                </a:cxn>
                <a:cxn ang="0">
                  <a:pos x="1885" y="70"/>
                </a:cxn>
                <a:cxn ang="0">
                  <a:pos x="1773" y="3"/>
                </a:cxn>
                <a:cxn ang="0">
                  <a:pos x="1767" y="0"/>
                </a:cxn>
                <a:cxn ang="0">
                  <a:pos x="1711" y="0"/>
                </a:cxn>
                <a:cxn ang="0">
                  <a:pos x="1629" y="0"/>
                </a:cxn>
                <a:cxn ang="0">
                  <a:pos x="1732" y="77"/>
                </a:cxn>
                <a:cxn ang="0">
                  <a:pos x="1842" y="174"/>
                </a:cxn>
                <a:cxn ang="0">
                  <a:pos x="1956" y="298"/>
                </a:cxn>
                <a:cxn ang="0">
                  <a:pos x="2009" y="370"/>
                </a:cxn>
                <a:cxn ang="0">
                  <a:pos x="2067" y="464"/>
                </a:cxn>
                <a:cxn ang="0">
                  <a:pos x="2122" y="578"/>
                </a:cxn>
                <a:cxn ang="0">
                  <a:pos x="2178" y="751"/>
                </a:cxn>
                <a:cxn ang="0">
                  <a:pos x="2205" y="940"/>
                </a:cxn>
                <a:cxn ang="0">
                  <a:pos x="2198" y="1207"/>
                </a:cxn>
                <a:cxn ang="0">
                  <a:pos x="2169" y="1375"/>
                </a:cxn>
                <a:cxn ang="0">
                  <a:pos x="2115" y="1571"/>
                </a:cxn>
                <a:cxn ang="0">
                  <a:pos x="2057" y="1691"/>
                </a:cxn>
                <a:cxn ang="0">
                  <a:pos x="2000" y="1776"/>
                </a:cxn>
                <a:cxn ang="0">
                  <a:pos x="1888" y="1903"/>
                </a:cxn>
                <a:cxn ang="0">
                  <a:pos x="1771" y="2004"/>
                </a:cxn>
                <a:cxn ang="0">
                  <a:pos x="1663" y="2081"/>
                </a:cxn>
                <a:cxn ang="0">
                  <a:pos x="1548" y="2149"/>
                </a:cxn>
                <a:cxn ang="0">
                  <a:pos x="1404" y="2222"/>
                </a:cxn>
                <a:cxn ang="0">
                  <a:pos x="1207" y="2307"/>
                </a:cxn>
                <a:cxn ang="0">
                  <a:pos x="1046" y="2369"/>
                </a:cxn>
                <a:cxn ang="0">
                  <a:pos x="813" y="2453"/>
                </a:cxn>
                <a:cxn ang="0">
                  <a:pos x="698" y="2495"/>
                </a:cxn>
                <a:cxn ang="0">
                  <a:pos x="690" y="2498"/>
                </a:cxn>
                <a:cxn ang="0">
                  <a:pos x="662" y="2508"/>
                </a:cxn>
                <a:cxn ang="0">
                  <a:pos x="392" y="2614"/>
                </a:cxn>
                <a:cxn ang="0">
                  <a:pos x="148" y="2735"/>
                </a:cxn>
                <a:cxn ang="0">
                  <a:pos x="0" y="2835"/>
                </a:cxn>
                <a:cxn ang="0">
                  <a:pos x="0" y="2884"/>
                </a:cxn>
                <a:cxn ang="0">
                  <a:pos x="536" y="2884"/>
                </a:cxn>
                <a:cxn ang="0">
                  <a:pos x="2395" y="2884"/>
                </a:cxn>
                <a:cxn ang="0">
                  <a:pos x="2608" y="2884"/>
                </a:cxn>
                <a:cxn ang="0">
                  <a:pos x="2629" y="2870"/>
                </a:cxn>
                <a:cxn ang="0">
                  <a:pos x="2798" y="2779"/>
                </a:cxn>
                <a:cxn ang="0">
                  <a:pos x="2992" y="2729"/>
                </a:cxn>
                <a:cxn ang="0">
                  <a:pos x="3091" y="2723"/>
                </a:cxn>
                <a:cxn ang="0">
                  <a:pos x="3101" y="2715"/>
                </a:cxn>
                <a:cxn ang="0">
                  <a:pos x="3128" y="2493"/>
                </a:cxn>
                <a:cxn ang="0">
                  <a:pos x="3133" y="2390"/>
                </a:cxn>
                <a:cxn ang="0">
                  <a:pos x="3123" y="2136"/>
                </a:cxn>
              </a:cxnLst>
              <a:rect l="0" t="0" r="r" b="b"/>
              <a:pathLst>
                <a:path w="3135" h="2884">
                  <a:moveTo>
                    <a:pt x="3123" y="2136"/>
                  </a:moveTo>
                  <a:cubicBezTo>
                    <a:pt x="3111" y="2019"/>
                    <a:pt x="3098" y="1902"/>
                    <a:pt x="3069" y="1788"/>
                  </a:cubicBezTo>
                  <a:cubicBezTo>
                    <a:pt x="3051" y="1714"/>
                    <a:pt x="3036" y="1639"/>
                    <a:pt x="3010" y="1567"/>
                  </a:cubicBezTo>
                  <a:cubicBezTo>
                    <a:pt x="2992" y="1514"/>
                    <a:pt x="2978" y="1458"/>
                    <a:pt x="2955" y="1406"/>
                  </a:cubicBezTo>
                  <a:cubicBezTo>
                    <a:pt x="2936" y="1360"/>
                    <a:pt x="2921" y="1312"/>
                    <a:pt x="2899" y="1268"/>
                  </a:cubicBezTo>
                  <a:cubicBezTo>
                    <a:pt x="2879" y="1227"/>
                    <a:pt x="2864" y="1184"/>
                    <a:pt x="2842" y="1144"/>
                  </a:cubicBezTo>
                  <a:cubicBezTo>
                    <a:pt x="2822" y="1109"/>
                    <a:pt x="2807" y="1071"/>
                    <a:pt x="2785" y="1036"/>
                  </a:cubicBezTo>
                  <a:cubicBezTo>
                    <a:pt x="2766" y="1005"/>
                    <a:pt x="2751" y="972"/>
                    <a:pt x="2731" y="941"/>
                  </a:cubicBezTo>
                  <a:cubicBezTo>
                    <a:pt x="2710" y="911"/>
                    <a:pt x="2694" y="879"/>
                    <a:pt x="2673" y="849"/>
                  </a:cubicBezTo>
                  <a:cubicBezTo>
                    <a:pt x="2653" y="823"/>
                    <a:pt x="2638" y="794"/>
                    <a:pt x="2618" y="768"/>
                  </a:cubicBezTo>
                  <a:cubicBezTo>
                    <a:pt x="2598" y="744"/>
                    <a:pt x="2582" y="716"/>
                    <a:pt x="2561" y="691"/>
                  </a:cubicBezTo>
                  <a:cubicBezTo>
                    <a:pt x="2541" y="668"/>
                    <a:pt x="2524" y="643"/>
                    <a:pt x="2505" y="620"/>
                  </a:cubicBezTo>
                  <a:cubicBezTo>
                    <a:pt x="2469" y="577"/>
                    <a:pt x="2433" y="534"/>
                    <a:pt x="2394" y="493"/>
                  </a:cubicBezTo>
                  <a:cubicBezTo>
                    <a:pt x="2394" y="493"/>
                    <a:pt x="2394" y="493"/>
                    <a:pt x="2393" y="492"/>
                  </a:cubicBezTo>
                  <a:cubicBezTo>
                    <a:pt x="2374" y="473"/>
                    <a:pt x="2356" y="452"/>
                    <a:pt x="2336" y="432"/>
                  </a:cubicBezTo>
                  <a:cubicBezTo>
                    <a:pt x="2299" y="395"/>
                    <a:pt x="2261" y="359"/>
                    <a:pt x="2222" y="324"/>
                  </a:cubicBezTo>
                  <a:cubicBezTo>
                    <a:pt x="2186" y="292"/>
                    <a:pt x="2150" y="261"/>
                    <a:pt x="2112" y="231"/>
                  </a:cubicBezTo>
                  <a:cubicBezTo>
                    <a:pt x="2075" y="201"/>
                    <a:pt x="2036" y="172"/>
                    <a:pt x="1997" y="144"/>
                  </a:cubicBezTo>
                  <a:cubicBezTo>
                    <a:pt x="1960" y="118"/>
                    <a:pt x="1923" y="93"/>
                    <a:pt x="1885" y="70"/>
                  </a:cubicBezTo>
                  <a:cubicBezTo>
                    <a:pt x="1848" y="47"/>
                    <a:pt x="1811" y="25"/>
                    <a:pt x="1773" y="3"/>
                  </a:cubicBezTo>
                  <a:cubicBezTo>
                    <a:pt x="1771" y="2"/>
                    <a:pt x="1769" y="1"/>
                    <a:pt x="1767" y="0"/>
                  </a:cubicBezTo>
                  <a:cubicBezTo>
                    <a:pt x="1711" y="0"/>
                    <a:pt x="1711" y="0"/>
                    <a:pt x="1711" y="0"/>
                  </a:cubicBezTo>
                  <a:cubicBezTo>
                    <a:pt x="1629" y="0"/>
                    <a:pt x="1629" y="0"/>
                    <a:pt x="1629" y="0"/>
                  </a:cubicBezTo>
                  <a:cubicBezTo>
                    <a:pt x="1664" y="25"/>
                    <a:pt x="1698" y="50"/>
                    <a:pt x="1732" y="77"/>
                  </a:cubicBezTo>
                  <a:cubicBezTo>
                    <a:pt x="1771" y="107"/>
                    <a:pt x="1807" y="140"/>
                    <a:pt x="1842" y="174"/>
                  </a:cubicBezTo>
                  <a:cubicBezTo>
                    <a:pt x="1883" y="213"/>
                    <a:pt x="1920" y="255"/>
                    <a:pt x="1956" y="298"/>
                  </a:cubicBezTo>
                  <a:cubicBezTo>
                    <a:pt x="1975" y="321"/>
                    <a:pt x="1992" y="346"/>
                    <a:pt x="2009" y="370"/>
                  </a:cubicBezTo>
                  <a:cubicBezTo>
                    <a:pt x="2031" y="400"/>
                    <a:pt x="2049" y="432"/>
                    <a:pt x="2067" y="464"/>
                  </a:cubicBezTo>
                  <a:cubicBezTo>
                    <a:pt x="2089" y="500"/>
                    <a:pt x="2105" y="539"/>
                    <a:pt x="2122" y="578"/>
                  </a:cubicBezTo>
                  <a:cubicBezTo>
                    <a:pt x="2147" y="633"/>
                    <a:pt x="2163" y="692"/>
                    <a:pt x="2178" y="751"/>
                  </a:cubicBezTo>
                  <a:cubicBezTo>
                    <a:pt x="2194" y="813"/>
                    <a:pt x="2201" y="876"/>
                    <a:pt x="2205" y="940"/>
                  </a:cubicBezTo>
                  <a:cubicBezTo>
                    <a:pt x="2211" y="1029"/>
                    <a:pt x="2209" y="1118"/>
                    <a:pt x="2198" y="1207"/>
                  </a:cubicBezTo>
                  <a:cubicBezTo>
                    <a:pt x="2191" y="1264"/>
                    <a:pt x="2183" y="1320"/>
                    <a:pt x="2169" y="1375"/>
                  </a:cubicBezTo>
                  <a:cubicBezTo>
                    <a:pt x="2152" y="1441"/>
                    <a:pt x="2139" y="1507"/>
                    <a:pt x="2115" y="1571"/>
                  </a:cubicBezTo>
                  <a:cubicBezTo>
                    <a:pt x="2100" y="1613"/>
                    <a:pt x="2081" y="1653"/>
                    <a:pt x="2057" y="1691"/>
                  </a:cubicBezTo>
                  <a:cubicBezTo>
                    <a:pt x="2038" y="1719"/>
                    <a:pt x="2021" y="1749"/>
                    <a:pt x="2000" y="1776"/>
                  </a:cubicBezTo>
                  <a:cubicBezTo>
                    <a:pt x="1966" y="1821"/>
                    <a:pt x="1928" y="1864"/>
                    <a:pt x="1888" y="1903"/>
                  </a:cubicBezTo>
                  <a:cubicBezTo>
                    <a:pt x="1851" y="1940"/>
                    <a:pt x="1812" y="1973"/>
                    <a:pt x="1771" y="2004"/>
                  </a:cubicBezTo>
                  <a:cubicBezTo>
                    <a:pt x="1736" y="2032"/>
                    <a:pt x="1700" y="2057"/>
                    <a:pt x="1663" y="2081"/>
                  </a:cubicBezTo>
                  <a:cubicBezTo>
                    <a:pt x="1625" y="2105"/>
                    <a:pt x="1587" y="2127"/>
                    <a:pt x="1548" y="2149"/>
                  </a:cubicBezTo>
                  <a:cubicBezTo>
                    <a:pt x="1500" y="2176"/>
                    <a:pt x="1452" y="2200"/>
                    <a:pt x="1404" y="2222"/>
                  </a:cubicBezTo>
                  <a:cubicBezTo>
                    <a:pt x="1339" y="2253"/>
                    <a:pt x="1273" y="2281"/>
                    <a:pt x="1207" y="2307"/>
                  </a:cubicBezTo>
                  <a:cubicBezTo>
                    <a:pt x="1154" y="2328"/>
                    <a:pt x="1100" y="2349"/>
                    <a:pt x="1046" y="2369"/>
                  </a:cubicBezTo>
                  <a:cubicBezTo>
                    <a:pt x="968" y="2397"/>
                    <a:pt x="891" y="2425"/>
                    <a:pt x="813" y="2453"/>
                  </a:cubicBezTo>
                  <a:cubicBezTo>
                    <a:pt x="775" y="2467"/>
                    <a:pt x="736" y="2481"/>
                    <a:pt x="698" y="2495"/>
                  </a:cubicBezTo>
                  <a:cubicBezTo>
                    <a:pt x="695" y="2496"/>
                    <a:pt x="692" y="2497"/>
                    <a:pt x="690" y="2498"/>
                  </a:cubicBezTo>
                  <a:cubicBezTo>
                    <a:pt x="681" y="2501"/>
                    <a:pt x="671" y="2505"/>
                    <a:pt x="662" y="2508"/>
                  </a:cubicBezTo>
                  <a:cubicBezTo>
                    <a:pt x="571" y="2541"/>
                    <a:pt x="481" y="2576"/>
                    <a:pt x="392" y="2614"/>
                  </a:cubicBezTo>
                  <a:cubicBezTo>
                    <a:pt x="308" y="2650"/>
                    <a:pt x="227" y="2689"/>
                    <a:pt x="148" y="2735"/>
                  </a:cubicBezTo>
                  <a:cubicBezTo>
                    <a:pt x="97" y="2765"/>
                    <a:pt x="47" y="2798"/>
                    <a:pt x="0" y="2835"/>
                  </a:cubicBezTo>
                  <a:cubicBezTo>
                    <a:pt x="0" y="2852"/>
                    <a:pt x="0" y="2868"/>
                    <a:pt x="0" y="2884"/>
                  </a:cubicBezTo>
                  <a:cubicBezTo>
                    <a:pt x="536" y="2884"/>
                    <a:pt x="536" y="2884"/>
                    <a:pt x="536" y="2884"/>
                  </a:cubicBezTo>
                  <a:cubicBezTo>
                    <a:pt x="2395" y="2884"/>
                    <a:pt x="2395" y="2884"/>
                    <a:pt x="2395" y="2884"/>
                  </a:cubicBezTo>
                  <a:cubicBezTo>
                    <a:pt x="2608" y="2884"/>
                    <a:pt x="2608" y="2884"/>
                    <a:pt x="2608" y="2884"/>
                  </a:cubicBezTo>
                  <a:cubicBezTo>
                    <a:pt x="2615" y="2880"/>
                    <a:pt x="2622" y="2875"/>
                    <a:pt x="2629" y="2870"/>
                  </a:cubicBezTo>
                  <a:cubicBezTo>
                    <a:pt x="2682" y="2833"/>
                    <a:pt x="2738" y="2803"/>
                    <a:pt x="2798" y="2779"/>
                  </a:cubicBezTo>
                  <a:cubicBezTo>
                    <a:pt x="2861" y="2754"/>
                    <a:pt x="2926" y="2738"/>
                    <a:pt x="2992" y="2729"/>
                  </a:cubicBezTo>
                  <a:cubicBezTo>
                    <a:pt x="3025" y="2725"/>
                    <a:pt x="3058" y="2724"/>
                    <a:pt x="3091" y="2723"/>
                  </a:cubicBezTo>
                  <a:cubicBezTo>
                    <a:pt x="3097" y="2723"/>
                    <a:pt x="3099" y="2722"/>
                    <a:pt x="3101" y="2715"/>
                  </a:cubicBezTo>
                  <a:cubicBezTo>
                    <a:pt x="3115" y="2641"/>
                    <a:pt x="3120" y="2567"/>
                    <a:pt x="3128" y="2493"/>
                  </a:cubicBezTo>
                  <a:cubicBezTo>
                    <a:pt x="3132" y="2459"/>
                    <a:pt x="3132" y="2424"/>
                    <a:pt x="3133" y="2390"/>
                  </a:cubicBezTo>
                  <a:cubicBezTo>
                    <a:pt x="3135" y="2305"/>
                    <a:pt x="3131" y="2221"/>
                    <a:pt x="3123" y="2136"/>
                  </a:cubicBezTo>
                  <a:close/>
                </a:path>
              </a:pathLst>
            </a:cu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839416" y="2924944"/>
            <a:ext cx="4774258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3200" b="1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9416" y="4542971"/>
            <a:ext cx="4774257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/>
              <a:t>Click to insert presenter, location, and date</a:t>
            </a:r>
          </a:p>
        </p:txBody>
      </p:sp>
      <p:sp>
        <p:nvSpPr>
          <p:cNvPr id="29" name="Retângulo 43">
            <a:extLst>
              <a:ext uri="{FF2B5EF4-FFF2-40B4-BE49-F238E27FC236}">
                <a16:creationId xmlns:a16="http://schemas.microsoft.com/office/drawing/2014/main" id="{B5754BC3-443F-413F-AF03-A4FE23C703D2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95594F58-B975-40CC-B3D2-BD3FA42F7B5C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6736134-6438-4FCA-B228-4FE4A66906EE}"/>
              </a:ext>
            </a:extLst>
          </p:cNvPr>
          <p:cNvSpPr/>
          <p:nvPr userDrawn="1"/>
        </p:nvSpPr>
        <p:spPr>
          <a:xfrm>
            <a:off x="9026748" y="6553200"/>
            <a:ext cx="2910777" cy="30403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181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39">
          <p15:clr>
            <a:srgbClr val="FBAE40"/>
          </p15:clr>
        </p15:guide>
        <p15:guide id="2" pos="25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7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954">
                <a:solidFill>
                  <a:srgbClr val="263147"/>
                </a:solidFill>
              </a:rPr>
              <a:t>Click to edit Master title style</a:t>
            </a:r>
          </a:p>
        </p:txBody>
      </p:sp>
      <p:sp>
        <p:nvSpPr>
          <p:cNvPr id="79" name="Shape 79"/>
          <p:cNvSpPr>
            <a:spLocks noGrp="1"/>
          </p:cNvSpPr>
          <p:nvPr>
            <p:ph type="body" idx="1"/>
          </p:nvPr>
        </p:nvSpPr>
        <p:spPr>
          <a:xfrm>
            <a:off x="508000" y="1411555"/>
            <a:ext cx="11176000" cy="5446449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Click to edit Master text styles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Second level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Third level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Fourth level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031">
                <a:solidFill>
                  <a:srgbClr val="4E4641"/>
                </a:solidFill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703728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96062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2647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859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FE8C2-9B2C-874A-8FF6-0C9889163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1016604" cy="384721"/>
          </a:xfrm>
        </p:spPr>
        <p:txBody>
          <a:bodyPr vert="horz" lIns="0" tIns="0" rIns="0" bIns="0" rtlCol="0" anchor="t">
            <a:spAutoFit/>
          </a:bodyPr>
          <a:lstStyle>
            <a:lvl1pPr>
              <a:defRPr lang="en-US" dirty="0"/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add title</a:t>
            </a:r>
          </a:p>
        </p:txBody>
      </p:sp>
      <p:sp>
        <p:nvSpPr>
          <p:cNvPr id="3" name="Table Placeholder 12">
            <a:extLst>
              <a:ext uri="{FF2B5EF4-FFF2-40B4-BE49-F238E27FC236}">
                <a16:creationId xmlns:a16="http://schemas.microsoft.com/office/drawing/2014/main" id="{E60AFB25-6648-EB45-9FF3-36C9834A85D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07987" y="1412876"/>
            <a:ext cx="11376025" cy="502550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n-US"/>
              <a:t>Click icon to add tab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1627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 left bar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DCBC3ED-332C-4AF9-9764-CE03415ABBA3}"/>
              </a:ext>
            </a:extLst>
          </p:cNvPr>
          <p:cNvSpPr/>
          <p:nvPr userDrawn="1"/>
        </p:nvSpPr>
        <p:spPr>
          <a:xfrm>
            <a:off x="0" y="0"/>
            <a:ext cx="717612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0136" y="404813"/>
            <a:ext cx="4032448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insert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204807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733E381-C11A-4F10-88ED-DDEA4B91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404813"/>
            <a:ext cx="10944596" cy="8650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/>
              <a:t>Click to insert 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951877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141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4893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7994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9611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image" Target="../media/image3.emf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28601"/>
            <a:ext cx="10972801" cy="94456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1" cy="4648200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07444" y="6264276"/>
            <a:ext cx="2844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fld id="{7091A9FD-CDA2-4BA5-8C18-59D6F59EB3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029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None/>
        <a:defRPr sz="5400" kern="1200">
          <a:solidFill>
            <a:srgbClr val="0C4B92"/>
          </a:solidFill>
          <a:latin typeface="Arial"/>
          <a:ea typeface="+mj-ea"/>
          <a:cs typeface="Arial"/>
        </a:defRPr>
      </a:lvl1pPr>
    </p:titleStyle>
    <p:bodyStyle>
      <a:lvl1pPr marL="457120" indent="-457120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•"/>
        <a:defRPr sz="4300" kern="1200">
          <a:solidFill>
            <a:srgbClr val="70A0D7"/>
          </a:solidFill>
          <a:latin typeface="Arial"/>
          <a:ea typeface="+mn-ea"/>
          <a:cs typeface="Arial"/>
        </a:defRPr>
      </a:lvl1pPr>
      <a:lvl2pPr marL="990427" indent="-380933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–"/>
        <a:defRPr sz="3700" kern="1200">
          <a:solidFill>
            <a:srgbClr val="70A0D7"/>
          </a:solidFill>
          <a:latin typeface="Arial"/>
          <a:ea typeface="+mn-ea"/>
          <a:cs typeface="Arial"/>
        </a:defRPr>
      </a:lvl2pPr>
      <a:lvl3pPr marL="1523733" indent="-304747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•"/>
        <a:defRPr sz="3200" kern="1200">
          <a:solidFill>
            <a:srgbClr val="70A0D7"/>
          </a:solidFill>
          <a:latin typeface="Arial"/>
          <a:ea typeface="+mn-ea"/>
          <a:cs typeface="Arial"/>
        </a:defRPr>
      </a:lvl3pPr>
      <a:lvl4pPr marL="2133227" indent="-304747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–"/>
        <a:defRPr sz="2700" kern="1200">
          <a:solidFill>
            <a:srgbClr val="70A0D7"/>
          </a:solidFill>
          <a:latin typeface="Arial"/>
          <a:ea typeface="+mn-ea"/>
          <a:cs typeface="Arial"/>
        </a:defRPr>
      </a:lvl4pPr>
      <a:lvl5pPr marL="2742720" indent="-304747" algn="l" defTabSz="1218987" rtl="0" eaLnBrk="1" latinLnBrk="0" hangingPunct="1">
        <a:lnSpc>
          <a:spcPct val="85000"/>
        </a:lnSpc>
        <a:spcBef>
          <a:spcPts val="0"/>
        </a:spcBef>
        <a:spcAft>
          <a:spcPts val="600"/>
        </a:spcAft>
        <a:buFont typeface="Arial" pitchFamily="34" charset="0"/>
        <a:buChar char="»"/>
        <a:defRPr sz="2700" kern="1200">
          <a:solidFill>
            <a:srgbClr val="70A0D7"/>
          </a:solidFill>
          <a:latin typeface="Arial"/>
          <a:ea typeface="+mn-ea"/>
          <a:cs typeface="Arial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105006-3CDF-4FD1-96F1-8C4FFDCC0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8C6B19-C1CF-4793-8939-1165AB6E9F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313865-4858-424F-B364-530EB19A24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2E1765-2ADF-4950-906B-5D49A99AD6CF}" type="datetimeFigureOut">
              <a:rPr lang="en-US" smtClean="0"/>
              <a:t>5/10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C74D9D-ED06-402B-866D-3944D92362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563B9-98DF-4E77-A802-530337799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732BF-E04F-47D1-BE0A-3BB48A08D0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080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3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824319D-02CC-441E-87B5-E9D15DE8CA35}"/>
              </a:ext>
            </a:extLst>
          </p:cNvPr>
          <p:cNvSpPr txBox="1">
            <a:spLocks/>
          </p:cNvSpPr>
          <p:nvPr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chemeClr val="tx1"/>
                </a:solidFill>
              </a:rPr>
              <a:t>© Capgemini 2020. All rights reserved  |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2A18D7B-9EDF-4649-973B-856B9C6B1FBD}"/>
              </a:ext>
            </a:extLst>
          </p:cNvPr>
          <p:cNvGrpSpPr/>
          <p:nvPr/>
        </p:nvGrpSpPr>
        <p:grpSpPr>
          <a:xfrm>
            <a:off x="10848528" y="260648"/>
            <a:ext cx="956632" cy="576064"/>
            <a:chOff x="10848528" y="188640"/>
            <a:chExt cx="956632" cy="576064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2E2E0DE-8C8C-EE4A-839F-01586D38130E}"/>
                </a:ext>
              </a:extLst>
            </p:cNvPr>
            <p:cNvGrpSpPr/>
            <p:nvPr userDrawn="1"/>
          </p:nvGrpSpPr>
          <p:grpSpPr>
            <a:xfrm>
              <a:off x="10848528" y="342494"/>
              <a:ext cx="956632" cy="293963"/>
              <a:chOff x="10704512" y="188640"/>
              <a:chExt cx="1265868" cy="388988"/>
            </a:xfrm>
          </p:grpSpPr>
          <p:grpSp>
            <p:nvGrpSpPr>
              <p:cNvPr id="2" name="Groupe 1"/>
              <p:cNvGrpSpPr/>
              <p:nvPr userDrawn="1"/>
            </p:nvGrpSpPr>
            <p:grpSpPr>
              <a:xfrm>
                <a:off x="10704512" y="188640"/>
                <a:ext cx="419436" cy="388988"/>
                <a:chOff x="11501102" y="171573"/>
                <a:chExt cx="419436" cy="388988"/>
              </a:xfrm>
            </p:grpSpPr>
            <p:sp>
              <p:nvSpPr>
                <p:cNvPr id="4109" name="Freeform 13"/>
                <p:cNvSpPr>
                  <a:spLocks/>
                </p:cNvSpPr>
                <p:nvPr userDrawn="1"/>
              </p:nvSpPr>
              <p:spPr bwMode="auto">
                <a:xfrm>
                  <a:off x="11644642" y="334376"/>
                  <a:ext cx="275896" cy="226185"/>
                </a:xfrm>
                <a:custGeom>
                  <a:avLst/>
                  <a:gdLst/>
                  <a:ahLst/>
                  <a:cxnLst>
                    <a:cxn ang="0">
                      <a:pos x="125" y="107"/>
                    </a:cxn>
                    <a:cxn ang="0">
                      <a:pos x="188" y="43"/>
                    </a:cxn>
                    <a:cxn ang="0">
                      <a:pos x="141" y="0"/>
                    </a:cxn>
                    <a:cxn ang="0">
                      <a:pos x="49" y="99"/>
                    </a:cxn>
                    <a:cxn ang="0">
                      <a:pos x="0" y="144"/>
                    </a:cxn>
                    <a:cxn ang="0">
                      <a:pos x="37" y="154"/>
                    </a:cxn>
                    <a:cxn ang="0">
                      <a:pos x="125" y="125"/>
                    </a:cxn>
                    <a:cxn ang="0">
                      <a:pos x="81" y="86"/>
                    </a:cxn>
                    <a:cxn ang="0">
                      <a:pos x="125" y="107"/>
                    </a:cxn>
                  </a:cxnLst>
                  <a:rect l="0" t="0" r="r" b="b"/>
                  <a:pathLst>
                    <a:path w="188" h="154">
                      <a:moveTo>
                        <a:pt x="125" y="107"/>
                      </a:moveTo>
                      <a:cubicBezTo>
                        <a:pt x="160" y="107"/>
                        <a:pt x="188" y="78"/>
                        <a:pt x="188" y="43"/>
                      </a:cubicBezTo>
                      <a:cubicBezTo>
                        <a:pt x="186" y="28"/>
                        <a:pt x="181" y="0"/>
                        <a:pt x="141" y="0"/>
                      </a:cubicBezTo>
                      <a:cubicBezTo>
                        <a:pt x="99" y="0"/>
                        <a:pt x="84" y="60"/>
                        <a:pt x="49" y="99"/>
                      </a:cubicBezTo>
                      <a:cubicBezTo>
                        <a:pt x="47" y="121"/>
                        <a:pt x="26" y="140"/>
                        <a:pt x="0" y="144"/>
                      </a:cubicBezTo>
                      <a:cubicBezTo>
                        <a:pt x="6" y="150"/>
                        <a:pt x="20" y="154"/>
                        <a:pt x="37" y="154"/>
                      </a:cubicBezTo>
                      <a:cubicBezTo>
                        <a:pt x="68" y="154"/>
                        <a:pt x="106" y="145"/>
                        <a:pt x="125" y="125"/>
                      </a:cubicBezTo>
                      <a:cubicBezTo>
                        <a:pt x="99" y="126"/>
                        <a:pt x="82" y="109"/>
                        <a:pt x="81" y="86"/>
                      </a:cubicBezTo>
                      <a:cubicBezTo>
                        <a:pt x="93" y="101"/>
                        <a:pt x="108" y="107"/>
                        <a:pt x="125" y="107"/>
                      </a:cubicBezTo>
                    </a:path>
                  </a:pathLst>
                </a:custGeom>
                <a:solidFill>
                  <a:srgbClr val="12AB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110" name="Freeform 14"/>
                <p:cNvSpPr>
                  <a:spLocks/>
                </p:cNvSpPr>
                <p:nvPr userDrawn="1"/>
              </p:nvSpPr>
              <p:spPr bwMode="auto">
                <a:xfrm>
                  <a:off x="11501102" y="171573"/>
                  <a:ext cx="419436" cy="356676"/>
                </a:xfrm>
                <a:custGeom>
                  <a:avLst/>
                  <a:gdLst/>
                  <a:ahLst/>
                  <a:cxnLst>
                    <a:cxn ang="0">
                      <a:pos x="286" y="152"/>
                    </a:cxn>
                    <a:cxn ang="0">
                      <a:pos x="237" y="51"/>
                    </a:cxn>
                    <a:cxn ang="0">
                      <a:pos x="160" y="3"/>
                    </a:cxn>
                    <a:cxn ang="0">
                      <a:pos x="153" y="0"/>
                    </a:cxn>
                    <a:cxn ang="0">
                      <a:pos x="153" y="0"/>
                    </a:cxn>
                    <a:cxn ang="0">
                      <a:pos x="0" y="158"/>
                    </a:cxn>
                    <a:cxn ang="0">
                      <a:pos x="53" y="236"/>
                    </a:cxn>
                    <a:cxn ang="0">
                      <a:pos x="107" y="237"/>
                    </a:cxn>
                    <a:cxn ang="0">
                      <a:pos x="147" y="210"/>
                    </a:cxn>
                    <a:cxn ang="0">
                      <a:pos x="239" y="111"/>
                    </a:cxn>
                    <a:cxn ang="0">
                      <a:pos x="286" y="154"/>
                    </a:cxn>
                    <a:cxn ang="0">
                      <a:pos x="286" y="152"/>
                    </a:cxn>
                  </a:cxnLst>
                  <a:rect l="0" t="0" r="r" b="b"/>
                  <a:pathLst>
                    <a:path w="286" h="243">
                      <a:moveTo>
                        <a:pt x="286" y="152"/>
                      </a:moveTo>
                      <a:cubicBezTo>
                        <a:pt x="286" y="112"/>
                        <a:pt x="266" y="78"/>
                        <a:pt x="237" y="51"/>
                      </a:cubicBezTo>
                      <a:cubicBezTo>
                        <a:pt x="215" y="30"/>
                        <a:pt x="188" y="15"/>
                        <a:pt x="160" y="3"/>
                      </a:cubicBezTo>
                      <a:cubicBezTo>
                        <a:pt x="158" y="2"/>
                        <a:pt x="156" y="1"/>
                        <a:pt x="153" y="0"/>
                      </a:cubicBezTo>
                      <a:cubicBezTo>
                        <a:pt x="153" y="0"/>
                        <a:pt x="153" y="0"/>
                        <a:pt x="153" y="0"/>
                      </a:cubicBezTo>
                      <a:cubicBezTo>
                        <a:pt x="119" y="41"/>
                        <a:pt x="0" y="72"/>
                        <a:pt x="0" y="158"/>
                      </a:cubicBezTo>
                      <a:cubicBezTo>
                        <a:pt x="0" y="192"/>
                        <a:pt x="21" y="224"/>
                        <a:pt x="53" y="236"/>
                      </a:cubicBezTo>
                      <a:cubicBezTo>
                        <a:pt x="71" y="243"/>
                        <a:pt x="89" y="243"/>
                        <a:pt x="107" y="237"/>
                      </a:cubicBezTo>
                      <a:cubicBezTo>
                        <a:pt x="123" y="232"/>
                        <a:pt x="136" y="222"/>
                        <a:pt x="147" y="210"/>
                      </a:cubicBezTo>
                      <a:cubicBezTo>
                        <a:pt x="182" y="171"/>
                        <a:pt x="197" y="111"/>
                        <a:pt x="239" y="111"/>
                      </a:cubicBezTo>
                      <a:cubicBezTo>
                        <a:pt x="279" y="111"/>
                        <a:pt x="284" y="139"/>
                        <a:pt x="286" y="154"/>
                      </a:cubicBezTo>
                      <a:cubicBezTo>
                        <a:pt x="286" y="154"/>
                        <a:pt x="286" y="153"/>
                        <a:pt x="286" y="152"/>
                      </a:cubicBezTo>
                    </a:path>
                  </a:pathLst>
                </a:custGeom>
                <a:solidFill>
                  <a:srgbClr val="0070A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CB30D190-4D61-6748-A49C-58BCD1050A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593043" y="211794"/>
                <a:ext cx="377337" cy="333459"/>
              </a:xfrm>
              <a:custGeom>
                <a:avLst/>
                <a:gdLst>
                  <a:gd name="connsiteX0" fmla="*/ 242180 w 333452"/>
                  <a:gd name="connsiteY0" fmla="*/ 21015 h 294678"/>
                  <a:gd name="connsiteX1" fmla="*/ 294756 w 333452"/>
                  <a:gd name="connsiteY1" fmla="*/ 294679 h 294678"/>
                  <a:gd name="connsiteX2" fmla="*/ 336865 w 333452"/>
                  <a:gd name="connsiteY2" fmla="*/ 294679 h 294678"/>
                  <a:gd name="connsiteX3" fmla="*/ 242102 w 333452"/>
                  <a:gd name="connsiteY3" fmla="*/ 0 h 294678"/>
                  <a:gd name="connsiteX4" fmla="*/ 168432 w 333452"/>
                  <a:gd name="connsiteY4" fmla="*/ 101664 h 294678"/>
                  <a:gd name="connsiteX5" fmla="*/ 94763 w 333452"/>
                  <a:gd name="connsiteY5" fmla="*/ 0 h 294678"/>
                  <a:gd name="connsiteX6" fmla="*/ 0 w 333452"/>
                  <a:gd name="connsiteY6" fmla="*/ 294679 h 294678"/>
                  <a:gd name="connsiteX7" fmla="*/ 42108 w 333452"/>
                  <a:gd name="connsiteY7" fmla="*/ 294679 h 294678"/>
                  <a:gd name="connsiteX8" fmla="*/ 94763 w 333452"/>
                  <a:gd name="connsiteY8" fmla="*/ 21015 h 294678"/>
                  <a:gd name="connsiteX9" fmla="*/ 147417 w 333452"/>
                  <a:gd name="connsiteY9" fmla="*/ 273664 h 294678"/>
                  <a:gd name="connsiteX10" fmla="*/ 189525 w 333452"/>
                  <a:gd name="connsiteY10" fmla="*/ 273664 h 294678"/>
                  <a:gd name="connsiteX11" fmla="*/ 242180 w 333452"/>
                  <a:gd name="connsiteY11" fmla="*/ 21015 h 29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3452" h="294678">
                    <a:moveTo>
                      <a:pt x="242180" y="21015"/>
                    </a:moveTo>
                    <a:cubicBezTo>
                      <a:pt x="271492" y="21015"/>
                      <a:pt x="294756" y="143850"/>
                      <a:pt x="294756" y="294679"/>
                    </a:cubicBezTo>
                    <a:lnTo>
                      <a:pt x="336865" y="294679"/>
                    </a:lnTo>
                    <a:cubicBezTo>
                      <a:pt x="336865" y="131830"/>
                      <a:pt x="294446" y="0"/>
                      <a:pt x="242102" y="0"/>
                    </a:cubicBezTo>
                    <a:cubicBezTo>
                      <a:pt x="212324" y="0"/>
                      <a:pt x="185803" y="39627"/>
                      <a:pt x="168432" y="101664"/>
                    </a:cubicBezTo>
                    <a:cubicBezTo>
                      <a:pt x="151062" y="39627"/>
                      <a:pt x="124463" y="0"/>
                      <a:pt x="94763" y="0"/>
                    </a:cubicBezTo>
                    <a:cubicBezTo>
                      <a:pt x="42418" y="0"/>
                      <a:pt x="0" y="131830"/>
                      <a:pt x="0" y="294679"/>
                    </a:cubicBezTo>
                    <a:lnTo>
                      <a:pt x="42108" y="294679"/>
                    </a:lnTo>
                    <a:cubicBezTo>
                      <a:pt x="42108" y="143540"/>
                      <a:pt x="65372" y="21015"/>
                      <a:pt x="94763" y="21015"/>
                    </a:cubicBezTo>
                    <a:cubicBezTo>
                      <a:pt x="124153" y="21015"/>
                      <a:pt x="147417" y="134156"/>
                      <a:pt x="147417" y="273664"/>
                    </a:cubicBezTo>
                    <a:lnTo>
                      <a:pt x="189525" y="273664"/>
                    </a:lnTo>
                    <a:cubicBezTo>
                      <a:pt x="189525" y="134079"/>
                      <a:pt x="212789" y="21015"/>
                      <a:pt x="242180" y="21015"/>
                    </a:cubicBezTo>
                  </a:path>
                </a:pathLst>
              </a:custGeom>
              <a:solidFill>
                <a:srgbClr val="FFBC0D"/>
              </a:solidFill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l-PL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03894290-2E33-7748-8B9D-F839DD79346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338284" y="188640"/>
              <a:ext cx="0" cy="576064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28922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  <p:sldLayoutId id="2147483714" r:id="rId2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1" i="0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Relationship Id="rId6" Type="http://schemas.openxmlformats.org/officeDocument/2006/relationships/chart" Target="../charts/chart1.xml"/><Relationship Id="rId11" Type="http://schemas.openxmlformats.org/officeDocument/2006/relationships/image" Target="../media/image14.jpeg"/><Relationship Id="rId5" Type="http://schemas.openxmlformats.org/officeDocument/2006/relationships/image" Target="../media/image9.png"/><Relationship Id="rId10" Type="http://schemas.openxmlformats.org/officeDocument/2006/relationships/image" Target="../media/image13.jpeg"/><Relationship Id="rId4" Type="http://schemas.openxmlformats.org/officeDocument/2006/relationships/image" Target="../media/image8.png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Black and white background drafting tools image."/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9" y="-22553"/>
            <a:ext cx="12188825" cy="6856214"/>
          </a:xfrm>
          <a:prstGeom prst="rect">
            <a:avLst/>
          </a:prstGeom>
        </p:spPr>
      </p:pic>
      <p:sp>
        <p:nvSpPr>
          <p:cNvPr id="43" name="Rectangle 4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4735" y="5194920"/>
            <a:ext cx="4429885" cy="1379171"/>
          </a:xfrm>
          <a:prstGeom prst="rect">
            <a:avLst/>
          </a:prstGeom>
          <a:noFill/>
          <a:ln w="19050">
            <a:solidFill>
              <a:srgbClr val="00B05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120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41" name="Rectangle 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9112" y="4106550"/>
            <a:ext cx="4162707" cy="595199"/>
          </a:xfrm>
          <a:prstGeom prst="rect">
            <a:avLst/>
          </a:prstGeom>
          <a:noFill/>
          <a:ln w="19050">
            <a:solidFill>
              <a:srgbClr val="FF7E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120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40" name="Rectangle 3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0399" y="2239446"/>
            <a:ext cx="4558244" cy="543529"/>
          </a:xfrm>
          <a:prstGeom prst="rect">
            <a:avLst/>
          </a:prstGeom>
          <a:noFill/>
          <a:ln w="19050">
            <a:solidFill>
              <a:srgbClr val="F0E4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endParaRPr lang="en-US" sz="1200" dirty="0">
              <a:solidFill>
                <a:prstClr val="black">
                  <a:lumMod val="85000"/>
                  <a:lumOff val="15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9" name="Oval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77000" y="1066800"/>
            <a:ext cx="4876800" cy="48768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itle 2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1</a:t>
            </a:r>
          </a:p>
        </p:txBody>
      </p:sp>
      <p:grpSp>
        <p:nvGrpSpPr>
          <p:cNvPr id="1746" name="Group 1745" descr="Circle gear with 6 gears inside"/>
          <p:cNvGrpSpPr/>
          <p:nvPr/>
        </p:nvGrpSpPr>
        <p:grpSpPr>
          <a:xfrm>
            <a:off x="6297843" y="969356"/>
            <a:ext cx="5235115" cy="5235115"/>
            <a:chOff x="5484812" y="606420"/>
            <a:chExt cx="5895976" cy="5895976"/>
          </a:xfrm>
          <a:effectLst/>
        </p:grpSpPr>
        <p:sp>
          <p:nvSpPr>
            <p:cNvPr id="1747" name="Freeform 174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84812" y="606420"/>
              <a:ext cx="5895976" cy="5895976"/>
            </a:xfrm>
            <a:custGeom>
              <a:avLst/>
              <a:gdLst>
                <a:gd name="T0" fmla="*/ 868 w 4320"/>
                <a:gd name="T1" fmla="*/ 430 h 4320"/>
                <a:gd name="T2" fmla="*/ 68 w 4320"/>
                <a:gd name="T3" fmla="*/ 1621 h 4320"/>
                <a:gd name="T4" fmla="*/ 191 w 4320"/>
                <a:gd name="T5" fmla="*/ 3048 h 4320"/>
                <a:gd name="T6" fmla="*/ 1178 w 4320"/>
                <a:gd name="T7" fmla="*/ 4083 h 4320"/>
                <a:gd name="T8" fmla="*/ 2594 w 4320"/>
                <a:gd name="T9" fmla="*/ 4276 h 4320"/>
                <a:gd name="T10" fmla="*/ 3825 w 4320"/>
                <a:gd name="T11" fmla="*/ 3533 h 4320"/>
                <a:gd name="T12" fmla="*/ 4320 w 4320"/>
                <a:gd name="T13" fmla="*/ 2160 h 4320"/>
                <a:gd name="T14" fmla="*/ 3858 w 4320"/>
                <a:gd name="T15" fmla="*/ 828 h 4320"/>
                <a:gd name="T16" fmla="*/ 2647 w 4320"/>
                <a:gd name="T17" fmla="*/ 55 h 4320"/>
                <a:gd name="T18" fmla="*/ 2007 w 4320"/>
                <a:gd name="T19" fmla="*/ 3708 h 4320"/>
                <a:gd name="T20" fmla="*/ 1842 w 4320"/>
                <a:gd name="T21" fmla="*/ 3695 h 4320"/>
                <a:gd name="T22" fmla="*/ 1651 w 4320"/>
                <a:gd name="T23" fmla="*/ 3767 h 4320"/>
                <a:gd name="T24" fmla="*/ 1517 w 4320"/>
                <a:gd name="T25" fmla="*/ 3589 h 4320"/>
                <a:gd name="T26" fmla="*/ 1349 w 4320"/>
                <a:gd name="T27" fmla="*/ 3487 h 4320"/>
                <a:gd name="T28" fmla="*/ 1140 w 4320"/>
                <a:gd name="T29" fmla="*/ 3487 h 4320"/>
                <a:gd name="T30" fmla="*/ 990 w 4320"/>
                <a:gd name="T31" fmla="*/ 3373 h 4320"/>
                <a:gd name="T32" fmla="*/ 939 w 4320"/>
                <a:gd name="T33" fmla="*/ 3141 h 4320"/>
                <a:gd name="T34" fmla="*/ 854 w 4320"/>
                <a:gd name="T35" fmla="*/ 3005 h 4320"/>
                <a:gd name="T36" fmla="*/ 690 w 4320"/>
                <a:gd name="T37" fmla="*/ 2843 h 4320"/>
                <a:gd name="T38" fmla="*/ 566 w 4320"/>
                <a:gd name="T39" fmla="*/ 2710 h 4320"/>
                <a:gd name="T40" fmla="*/ 641 w 4320"/>
                <a:gd name="T41" fmla="*/ 2493 h 4320"/>
                <a:gd name="T42" fmla="*/ 603 w 4320"/>
                <a:gd name="T43" fmla="*/ 2333 h 4320"/>
                <a:gd name="T44" fmla="*/ 486 w 4320"/>
                <a:gd name="T45" fmla="*/ 2116 h 4320"/>
                <a:gd name="T46" fmla="*/ 495 w 4320"/>
                <a:gd name="T47" fmla="*/ 1897 h 4320"/>
                <a:gd name="T48" fmla="*/ 601 w 4320"/>
                <a:gd name="T49" fmla="*/ 1719 h 4320"/>
                <a:gd name="T50" fmla="*/ 710 w 4320"/>
                <a:gd name="T51" fmla="*/ 1596 h 4320"/>
                <a:gd name="T52" fmla="*/ 744 w 4320"/>
                <a:gd name="T53" fmla="*/ 1372 h 4320"/>
                <a:gd name="T54" fmla="*/ 789 w 4320"/>
                <a:gd name="T55" fmla="*/ 1179 h 4320"/>
                <a:gd name="T56" fmla="*/ 1001 w 4320"/>
                <a:gd name="T57" fmla="*/ 1117 h 4320"/>
                <a:gd name="T58" fmla="*/ 1121 w 4320"/>
                <a:gd name="T59" fmla="*/ 1002 h 4320"/>
                <a:gd name="T60" fmla="*/ 1196 w 4320"/>
                <a:gd name="T61" fmla="*/ 778 h 4320"/>
                <a:gd name="T62" fmla="*/ 1358 w 4320"/>
                <a:gd name="T63" fmla="*/ 685 h 4320"/>
                <a:gd name="T64" fmla="*/ 1603 w 4320"/>
                <a:gd name="T65" fmla="*/ 700 h 4320"/>
                <a:gd name="T66" fmla="*/ 1749 w 4320"/>
                <a:gd name="T67" fmla="*/ 652 h 4320"/>
                <a:gd name="T68" fmla="*/ 1924 w 4320"/>
                <a:gd name="T69" fmla="*/ 490 h 4320"/>
                <a:gd name="T70" fmla="*/ 2124 w 4320"/>
                <a:gd name="T71" fmla="*/ 476 h 4320"/>
                <a:gd name="T72" fmla="*/ 2352 w 4320"/>
                <a:gd name="T73" fmla="*/ 551 h 4320"/>
                <a:gd name="T74" fmla="*/ 2522 w 4320"/>
                <a:gd name="T75" fmla="*/ 648 h 4320"/>
                <a:gd name="T76" fmla="*/ 2719 w 4320"/>
                <a:gd name="T77" fmla="*/ 576 h 4320"/>
                <a:gd name="T78" fmla="*/ 2887 w 4320"/>
                <a:gd name="T79" fmla="*/ 643 h 4320"/>
                <a:gd name="T80" fmla="*/ 3018 w 4320"/>
                <a:gd name="T81" fmla="*/ 849 h 4320"/>
                <a:gd name="T82" fmla="*/ 3141 w 4320"/>
                <a:gd name="T83" fmla="*/ 952 h 4320"/>
                <a:gd name="T84" fmla="*/ 3376 w 4320"/>
                <a:gd name="T85" fmla="*/ 997 h 4320"/>
                <a:gd name="T86" fmla="*/ 3502 w 4320"/>
                <a:gd name="T87" fmla="*/ 1140 h 4320"/>
                <a:gd name="T88" fmla="*/ 3502 w 4320"/>
                <a:gd name="T89" fmla="*/ 1374 h 4320"/>
                <a:gd name="T90" fmla="*/ 3583 w 4320"/>
                <a:gd name="T91" fmla="*/ 1534 h 4320"/>
                <a:gd name="T92" fmla="*/ 3772 w 4320"/>
                <a:gd name="T93" fmla="*/ 1665 h 4320"/>
                <a:gd name="T94" fmla="*/ 3750 w 4320"/>
                <a:gd name="T95" fmla="*/ 1845 h 4320"/>
                <a:gd name="T96" fmla="*/ 3714 w 4320"/>
                <a:gd name="T97" fmla="*/ 2074 h 4320"/>
                <a:gd name="T98" fmla="*/ 3716 w 4320"/>
                <a:gd name="T99" fmla="*/ 2240 h 4320"/>
                <a:gd name="T100" fmla="*/ 3806 w 4320"/>
                <a:gd name="T101" fmla="*/ 2466 h 4320"/>
                <a:gd name="T102" fmla="*/ 3773 w 4320"/>
                <a:gd name="T103" fmla="*/ 2651 h 4320"/>
                <a:gd name="T104" fmla="*/ 3584 w 4320"/>
                <a:gd name="T105" fmla="*/ 2783 h 4320"/>
                <a:gd name="T106" fmla="*/ 3504 w 4320"/>
                <a:gd name="T107" fmla="*/ 2944 h 4320"/>
                <a:gd name="T108" fmla="*/ 3504 w 4320"/>
                <a:gd name="T109" fmla="*/ 3177 h 4320"/>
                <a:gd name="T110" fmla="*/ 3376 w 4320"/>
                <a:gd name="T111" fmla="*/ 3309 h 4320"/>
                <a:gd name="T112" fmla="*/ 3143 w 4320"/>
                <a:gd name="T113" fmla="*/ 3367 h 4320"/>
                <a:gd name="T114" fmla="*/ 3020 w 4320"/>
                <a:gd name="T115" fmla="*/ 3470 h 4320"/>
                <a:gd name="T116" fmla="*/ 2890 w 4320"/>
                <a:gd name="T117" fmla="*/ 3676 h 4320"/>
                <a:gd name="T118" fmla="*/ 2721 w 4320"/>
                <a:gd name="T119" fmla="*/ 3743 h 4320"/>
                <a:gd name="T120" fmla="*/ 2525 w 4320"/>
                <a:gd name="T121" fmla="*/ 3672 h 4320"/>
                <a:gd name="T122" fmla="*/ 2354 w 4320"/>
                <a:gd name="T123" fmla="*/ 3768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20" h="4320">
                  <a:moveTo>
                    <a:pt x="2160" y="0"/>
                  </a:moveTo>
                  <a:lnTo>
                    <a:pt x="2160" y="0"/>
                  </a:lnTo>
                  <a:lnTo>
                    <a:pt x="2104" y="1"/>
                  </a:lnTo>
                  <a:lnTo>
                    <a:pt x="2049" y="3"/>
                  </a:lnTo>
                  <a:lnTo>
                    <a:pt x="1994" y="6"/>
                  </a:lnTo>
                  <a:lnTo>
                    <a:pt x="1939" y="11"/>
                  </a:lnTo>
                  <a:lnTo>
                    <a:pt x="1885" y="17"/>
                  </a:lnTo>
                  <a:lnTo>
                    <a:pt x="1832" y="26"/>
                  </a:lnTo>
                  <a:lnTo>
                    <a:pt x="1778" y="34"/>
                  </a:lnTo>
                  <a:lnTo>
                    <a:pt x="1726" y="44"/>
                  </a:lnTo>
                  <a:lnTo>
                    <a:pt x="1673" y="55"/>
                  </a:lnTo>
                  <a:lnTo>
                    <a:pt x="1621" y="68"/>
                  </a:lnTo>
                  <a:lnTo>
                    <a:pt x="1569" y="83"/>
                  </a:lnTo>
                  <a:lnTo>
                    <a:pt x="1518" y="97"/>
                  </a:lnTo>
                  <a:lnTo>
                    <a:pt x="1468" y="113"/>
                  </a:lnTo>
                  <a:lnTo>
                    <a:pt x="1418" y="132"/>
                  </a:lnTo>
                  <a:lnTo>
                    <a:pt x="1369" y="150"/>
                  </a:lnTo>
                  <a:lnTo>
                    <a:pt x="1320" y="171"/>
                  </a:lnTo>
                  <a:lnTo>
                    <a:pt x="1272" y="191"/>
                  </a:lnTo>
                  <a:lnTo>
                    <a:pt x="1224" y="214"/>
                  </a:lnTo>
                  <a:lnTo>
                    <a:pt x="1178" y="237"/>
                  </a:lnTo>
                  <a:lnTo>
                    <a:pt x="1131" y="262"/>
                  </a:lnTo>
                  <a:lnTo>
                    <a:pt x="1086" y="287"/>
                  </a:lnTo>
                  <a:lnTo>
                    <a:pt x="1041" y="314"/>
                  </a:lnTo>
                  <a:lnTo>
                    <a:pt x="997" y="341"/>
                  </a:lnTo>
                  <a:lnTo>
                    <a:pt x="953" y="370"/>
                  </a:lnTo>
                  <a:lnTo>
                    <a:pt x="910" y="400"/>
                  </a:lnTo>
                  <a:lnTo>
                    <a:pt x="868" y="430"/>
                  </a:lnTo>
                  <a:lnTo>
                    <a:pt x="828" y="462"/>
                  </a:lnTo>
                  <a:lnTo>
                    <a:pt x="787" y="495"/>
                  </a:lnTo>
                  <a:lnTo>
                    <a:pt x="747" y="527"/>
                  </a:lnTo>
                  <a:lnTo>
                    <a:pt x="709" y="562"/>
                  </a:lnTo>
                  <a:lnTo>
                    <a:pt x="670" y="598"/>
                  </a:lnTo>
                  <a:lnTo>
                    <a:pt x="633" y="633"/>
                  </a:lnTo>
                  <a:lnTo>
                    <a:pt x="598" y="670"/>
                  </a:lnTo>
                  <a:lnTo>
                    <a:pt x="562" y="708"/>
                  </a:lnTo>
                  <a:lnTo>
                    <a:pt x="527" y="747"/>
                  </a:lnTo>
                  <a:lnTo>
                    <a:pt x="495" y="787"/>
                  </a:lnTo>
                  <a:lnTo>
                    <a:pt x="462" y="828"/>
                  </a:lnTo>
                  <a:lnTo>
                    <a:pt x="430" y="868"/>
                  </a:lnTo>
                  <a:lnTo>
                    <a:pt x="400" y="910"/>
                  </a:lnTo>
                  <a:lnTo>
                    <a:pt x="370" y="953"/>
                  </a:lnTo>
                  <a:lnTo>
                    <a:pt x="341" y="997"/>
                  </a:lnTo>
                  <a:lnTo>
                    <a:pt x="314" y="1041"/>
                  </a:lnTo>
                  <a:lnTo>
                    <a:pt x="287" y="1086"/>
                  </a:lnTo>
                  <a:lnTo>
                    <a:pt x="262" y="1131"/>
                  </a:lnTo>
                  <a:lnTo>
                    <a:pt x="237" y="1178"/>
                  </a:lnTo>
                  <a:lnTo>
                    <a:pt x="214" y="1224"/>
                  </a:lnTo>
                  <a:lnTo>
                    <a:pt x="191" y="1272"/>
                  </a:lnTo>
                  <a:lnTo>
                    <a:pt x="171" y="1320"/>
                  </a:lnTo>
                  <a:lnTo>
                    <a:pt x="150" y="1369"/>
                  </a:lnTo>
                  <a:lnTo>
                    <a:pt x="132" y="1418"/>
                  </a:lnTo>
                  <a:lnTo>
                    <a:pt x="114" y="1468"/>
                  </a:lnTo>
                  <a:lnTo>
                    <a:pt x="97" y="1518"/>
                  </a:lnTo>
                  <a:lnTo>
                    <a:pt x="83" y="1569"/>
                  </a:lnTo>
                  <a:lnTo>
                    <a:pt x="68" y="1621"/>
                  </a:lnTo>
                  <a:lnTo>
                    <a:pt x="55" y="1673"/>
                  </a:lnTo>
                  <a:lnTo>
                    <a:pt x="44" y="1726"/>
                  </a:lnTo>
                  <a:lnTo>
                    <a:pt x="34" y="1778"/>
                  </a:lnTo>
                  <a:lnTo>
                    <a:pt x="26" y="1831"/>
                  </a:lnTo>
                  <a:lnTo>
                    <a:pt x="17" y="1885"/>
                  </a:lnTo>
                  <a:lnTo>
                    <a:pt x="11" y="1939"/>
                  </a:lnTo>
                  <a:lnTo>
                    <a:pt x="6" y="1994"/>
                  </a:lnTo>
                  <a:lnTo>
                    <a:pt x="3" y="2049"/>
                  </a:lnTo>
                  <a:lnTo>
                    <a:pt x="1" y="2104"/>
                  </a:lnTo>
                  <a:lnTo>
                    <a:pt x="0" y="2160"/>
                  </a:lnTo>
                  <a:lnTo>
                    <a:pt x="0" y="2160"/>
                  </a:lnTo>
                  <a:lnTo>
                    <a:pt x="1" y="2215"/>
                  </a:lnTo>
                  <a:lnTo>
                    <a:pt x="3" y="2271"/>
                  </a:lnTo>
                  <a:lnTo>
                    <a:pt x="6" y="2326"/>
                  </a:lnTo>
                  <a:lnTo>
                    <a:pt x="11" y="2381"/>
                  </a:lnTo>
                  <a:lnTo>
                    <a:pt x="17" y="2435"/>
                  </a:lnTo>
                  <a:lnTo>
                    <a:pt x="26" y="2488"/>
                  </a:lnTo>
                  <a:lnTo>
                    <a:pt x="34" y="2542"/>
                  </a:lnTo>
                  <a:lnTo>
                    <a:pt x="44" y="2594"/>
                  </a:lnTo>
                  <a:lnTo>
                    <a:pt x="55" y="2647"/>
                  </a:lnTo>
                  <a:lnTo>
                    <a:pt x="68" y="2699"/>
                  </a:lnTo>
                  <a:lnTo>
                    <a:pt x="83" y="2751"/>
                  </a:lnTo>
                  <a:lnTo>
                    <a:pt x="97" y="2802"/>
                  </a:lnTo>
                  <a:lnTo>
                    <a:pt x="114" y="2852"/>
                  </a:lnTo>
                  <a:lnTo>
                    <a:pt x="132" y="2902"/>
                  </a:lnTo>
                  <a:lnTo>
                    <a:pt x="150" y="2951"/>
                  </a:lnTo>
                  <a:lnTo>
                    <a:pt x="171" y="3000"/>
                  </a:lnTo>
                  <a:lnTo>
                    <a:pt x="191" y="3048"/>
                  </a:lnTo>
                  <a:lnTo>
                    <a:pt x="214" y="3096"/>
                  </a:lnTo>
                  <a:lnTo>
                    <a:pt x="237" y="3142"/>
                  </a:lnTo>
                  <a:lnTo>
                    <a:pt x="262" y="3189"/>
                  </a:lnTo>
                  <a:lnTo>
                    <a:pt x="287" y="3234"/>
                  </a:lnTo>
                  <a:lnTo>
                    <a:pt x="314" y="3279"/>
                  </a:lnTo>
                  <a:lnTo>
                    <a:pt x="341" y="3323"/>
                  </a:lnTo>
                  <a:lnTo>
                    <a:pt x="370" y="3367"/>
                  </a:lnTo>
                  <a:lnTo>
                    <a:pt x="400" y="3410"/>
                  </a:lnTo>
                  <a:lnTo>
                    <a:pt x="430" y="3452"/>
                  </a:lnTo>
                  <a:lnTo>
                    <a:pt x="462" y="3492"/>
                  </a:lnTo>
                  <a:lnTo>
                    <a:pt x="495" y="3533"/>
                  </a:lnTo>
                  <a:lnTo>
                    <a:pt x="527" y="3572"/>
                  </a:lnTo>
                  <a:lnTo>
                    <a:pt x="562" y="3611"/>
                  </a:lnTo>
                  <a:lnTo>
                    <a:pt x="598" y="3650"/>
                  </a:lnTo>
                  <a:lnTo>
                    <a:pt x="633" y="3687"/>
                  </a:lnTo>
                  <a:lnTo>
                    <a:pt x="670" y="3722"/>
                  </a:lnTo>
                  <a:lnTo>
                    <a:pt x="709" y="3758"/>
                  </a:lnTo>
                  <a:lnTo>
                    <a:pt x="747" y="3793"/>
                  </a:lnTo>
                  <a:lnTo>
                    <a:pt x="787" y="3825"/>
                  </a:lnTo>
                  <a:lnTo>
                    <a:pt x="828" y="3858"/>
                  </a:lnTo>
                  <a:lnTo>
                    <a:pt x="868" y="3890"/>
                  </a:lnTo>
                  <a:lnTo>
                    <a:pt x="910" y="3920"/>
                  </a:lnTo>
                  <a:lnTo>
                    <a:pt x="953" y="3950"/>
                  </a:lnTo>
                  <a:lnTo>
                    <a:pt x="997" y="3979"/>
                  </a:lnTo>
                  <a:lnTo>
                    <a:pt x="1041" y="4006"/>
                  </a:lnTo>
                  <a:lnTo>
                    <a:pt x="1086" y="4033"/>
                  </a:lnTo>
                  <a:lnTo>
                    <a:pt x="1131" y="4058"/>
                  </a:lnTo>
                  <a:lnTo>
                    <a:pt x="1178" y="4083"/>
                  </a:lnTo>
                  <a:lnTo>
                    <a:pt x="1224" y="4106"/>
                  </a:lnTo>
                  <a:lnTo>
                    <a:pt x="1272" y="4129"/>
                  </a:lnTo>
                  <a:lnTo>
                    <a:pt x="1320" y="4149"/>
                  </a:lnTo>
                  <a:lnTo>
                    <a:pt x="1369" y="4170"/>
                  </a:lnTo>
                  <a:lnTo>
                    <a:pt x="1418" y="4188"/>
                  </a:lnTo>
                  <a:lnTo>
                    <a:pt x="1468" y="4206"/>
                  </a:lnTo>
                  <a:lnTo>
                    <a:pt x="1518" y="4222"/>
                  </a:lnTo>
                  <a:lnTo>
                    <a:pt x="1569" y="4237"/>
                  </a:lnTo>
                  <a:lnTo>
                    <a:pt x="1621" y="4252"/>
                  </a:lnTo>
                  <a:lnTo>
                    <a:pt x="1673" y="4264"/>
                  </a:lnTo>
                  <a:lnTo>
                    <a:pt x="1726" y="4276"/>
                  </a:lnTo>
                  <a:lnTo>
                    <a:pt x="1778" y="4286"/>
                  </a:lnTo>
                  <a:lnTo>
                    <a:pt x="1832" y="4294"/>
                  </a:lnTo>
                  <a:lnTo>
                    <a:pt x="1885" y="4303"/>
                  </a:lnTo>
                  <a:lnTo>
                    <a:pt x="1939" y="4309"/>
                  </a:lnTo>
                  <a:lnTo>
                    <a:pt x="1994" y="4313"/>
                  </a:lnTo>
                  <a:lnTo>
                    <a:pt x="2049" y="4317"/>
                  </a:lnTo>
                  <a:lnTo>
                    <a:pt x="2104" y="4319"/>
                  </a:lnTo>
                  <a:lnTo>
                    <a:pt x="2160" y="4320"/>
                  </a:lnTo>
                  <a:lnTo>
                    <a:pt x="2160" y="4320"/>
                  </a:lnTo>
                  <a:lnTo>
                    <a:pt x="2215" y="4319"/>
                  </a:lnTo>
                  <a:lnTo>
                    <a:pt x="2271" y="4317"/>
                  </a:lnTo>
                  <a:lnTo>
                    <a:pt x="2326" y="4313"/>
                  </a:lnTo>
                  <a:lnTo>
                    <a:pt x="2381" y="4309"/>
                  </a:lnTo>
                  <a:lnTo>
                    <a:pt x="2435" y="4303"/>
                  </a:lnTo>
                  <a:lnTo>
                    <a:pt x="2488" y="4294"/>
                  </a:lnTo>
                  <a:lnTo>
                    <a:pt x="2542" y="4286"/>
                  </a:lnTo>
                  <a:lnTo>
                    <a:pt x="2594" y="4276"/>
                  </a:lnTo>
                  <a:lnTo>
                    <a:pt x="2647" y="4264"/>
                  </a:lnTo>
                  <a:lnTo>
                    <a:pt x="2699" y="4252"/>
                  </a:lnTo>
                  <a:lnTo>
                    <a:pt x="2751" y="4237"/>
                  </a:lnTo>
                  <a:lnTo>
                    <a:pt x="2802" y="4222"/>
                  </a:lnTo>
                  <a:lnTo>
                    <a:pt x="2852" y="4206"/>
                  </a:lnTo>
                  <a:lnTo>
                    <a:pt x="2902" y="4188"/>
                  </a:lnTo>
                  <a:lnTo>
                    <a:pt x="2951" y="4170"/>
                  </a:lnTo>
                  <a:lnTo>
                    <a:pt x="3000" y="4149"/>
                  </a:lnTo>
                  <a:lnTo>
                    <a:pt x="3048" y="4129"/>
                  </a:lnTo>
                  <a:lnTo>
                    <a:pt x="3096" y="4106"/>
                  </a:lnTo>
                  <a:lnTo>
                    <a:pt x="3142" y="4083"/>
                  </a:lnTo>
                  <a:lnTo>
                    <a:pt x="3189" y="4058"/>
                  </a:lnTo>
                  <a:lnTo>
                    <a:pt x="3234" y="4033"/>
                  </a:lnTo>
                  <a:lnTo>
                    <a:pt x="3279" y="4006"/>
                  </a:lnTo>
                  <a:lnTo>
                    <a:pt x="3323" y="3979"/>
                  </a:lnTo>
                  <a:lnTo>
                    <a:pt x="3367" y="3950"/>
                  </a:lnTo>
                  <a:lnTo>
                    <a:pt x="3410" y="3920"/>
                  </a:lnTo>
                  <a:lnTo>
                    <a:pt x="3452" y="3890"/>
                  </a:lnTo>
                  <a:lnTo>
                    <a:pt x="3492" y="3858"/>
                  </a:lnTo>
                  <a:lnTo>
                    <a:pt x="3533" y="3825"/>
                  </a:lnTo>
                  <a:lnTo>
                    <a:pt x="3572" y="3793"/>
                  </a:lnTo>
                  <a:lnTo>
                    <a:pt x="3611" y="3758"/>
                  </a:lnTo>
                  <a:lnTo>
                    <a:pt x="3650" y="3722"/>
                  </a:lnTo>
                  <a:lnTo>
                    <a:pt x="3687" y="3687"/>
                  </a:lnTo>
                  <a:lnTo>
                    <a:pt x="3722" y="3650"/>
                  </a:lnTo>
                  <a:lnTo>
                    <a:pt x="3758" y="3611"/>
                  </a:lnTo>
                  <a:lnTo>
                    <a:pt x="3793" y="3572"/>
                  </a:lnTo>
                  <a:lnTo>
                    <a:pt x="3825" y="3533"/>
                  </a:lnTo>
                  <a:lnTo>
                    <a:pt x="3858" y="3492"/>
                  </a:lnTo>
                  <a:lnTo>
                    <a:pt x="3890" y="3452"/>
                  </a:lnTo>
                  <a:lnTo>
                    <a:pt x="3920" y="3410"/>
                  </a:lnTo>
                  <a:lnTo>
                    <a:pt x="3950" y="3367"/>
                  </a:lnTo>
                  <a:lnTo>
                    <a:pt x="3979" y="3323"/>
                  </a:lnTo>
                  <a:lnTo>
                    <a:pt x="4006" y="3279"/>
                  </a:lnTo>
                  <a:lnTo>
                    <a:pt x="4033" y="3234"/>
                  </a:lnTo>
                  <a:lnTo>
                    <a:pt x="4058" y="3189"/>
                  </a:lnTo>
                  <a:lnTo>
                    <a:pt x="4083" y="3142"/>
                  </a:lnTo>
                  <a:lnTo>
                    <a:pt x="4106" y="3096"/>
                  </a:lnTo>
                  <a:lnTo>
                    <a:pt x="4129" y="3048"/>
                  </a:lnTo>
                  <a:lnTo>
                    <a:pt x="4149" y="3000"/>
                  </a:lnTo>
                  <a:lnTo>
                    <a:pt x="4170" y="2951"/>
                  </a:lnTo>
                  <a:lnTo>
                    <a:pt x="4188" y="2902"/>
                  </a:lnTo>
                  <a:lnTo>
                    <a:pt x="4206" y="2852"/>
                  </a:lnTo>
                  <a:lnTo>
                    <a:pt x="4222" y="2802"/>
                  </a:lnTo>
                  <a:lnTo>
                    <a:pt x="4237" y="2751"/>
                  </a:lnTo>
                  <a:lnTo>
                    <a:pt x="4252" y="2699"/>
                  </a:lnTo>
                  <a:lnTo>
                    <a:pt x="4264" y="2647"/>
                  </a:lnTo>
                  <a:lnTo>
                    <a:pt x="4276" y="2594"/>
                  </a:lnTo>
                  <a:lnTo>
                    <a:pt x="4286" y="2542"/>
                  </a:lnTo>
                  <a:lnTo>
                    <a:pt x="4294" y="2488"/>
                  </a:lnTo>
                  <a:lnTo>
                    <a:pt x="4303" y="2435"/>
                  </a:lnTo>
                  <a:lnTo>
                    <a:pt x="4309" y="2381"/>
                  </a:lnTo>
                  <a:lnTo>
                    <a:pt x="4313" y="2326"/>
                  </a:lnTo>
                  <a:lnTo>
                    <a:pt x="4317" y="2271"/>
                  </a:lnTo>
                  <a:lnTo>
                    <a:pt x="4319" y="2215"/>
                  </a:lnTo>
                  <a:lnTo>
                    <a:pt x="4320" y="2160"/>
                  </a:lnTo>
                  <a:lnTo>
                    <a:pt x="4320" y="2160"/>
                  </a:lnTo>
                  <a:lnTo>
                    <a:pt x="4319" y="2104"/>
                  </a:lnTo>
                  <a:lnTo>
                    <a:pt x="4317" y="2049"/>
                  </a:lnTo>
                  <a:lnTo>
                    <a:pt x="4313" y="1994"/>
                  </a:lnTo>
                  <a:lnTo>
                    <a:pt x="4309" y="1939"/>
                  </a:lnTo>
                  <a:lnTo>
                    <a:pt x="4303" y="1885"/>
                  </a:lnTo>
                  <a:lnTo>
                    <a:pt x="4294" y="1831"/>
                  </a:lnTo>
                  <a:lnTo>
                    <a:pt x="4286" y="1778"/>
                  </a:lnTo>
                  <a:lnTo>
                    <a:pt x="4276" y="1726"/>
                  </a:lnTo>
                  <a:lnTo>
                    <a:pt x="4264" y="1673"/>
                  </a:lnTo>
                  <a:lnTo>
                    <a:pt x="4252" y="1621"/>
                  </a:lnTo>
                  <a:lnTo>
                    <a:pt x="4237" y="1569"/>
                  </a:lnTo>
                  <a:lnTo>
                    <a:pt x="4222" y="1518"/>
                  </a:lnTo>
                  <a:lnTo>
                    <a:pt x="4206" y="1468"/>
                  </a:lnTo>
                  <a:lnTo>
                    <a:pt x="4188" y="1418"/>
                  </a:lnTo>
                  <a:lnTo>
                    <a:pt x="4170" y="1369"/>
                  </a:lnTo>
                  <a:lnTo>
                    <a:pt x="4149" y="1320"/>
                  </a:lnTo>
                  <a:lnTo>
                    <a:pt x="4129" y="1272"/>
                  </a:lnTo>
                  <a:lnTo>
                    <a:pt x="4106" y="1224"/>
                  </a:lnTo>
                  <a:lnTo>
                    <a:pt x="4083" y="1178"/>
                  </a:lnTo>
                  <a:lnTo>
                    <a:pt x="4058" y="1131"/>
                  </a:lnTo>
                  <a:lnTo>
                    <a:pt x="4033" y="1086"/>
                  </a:lnTo>
                  <a:lnTo>
                    <a:pt x="4006" y="1041"/>
                  </a:lnTo>
                  <a:lnTo>
                    <a:pt x="3979" y="997"/>
                  </a:lnTo>
                  <a:lnTo>
                    <a:pt x="3950" y="953"/>
                  </a:lnTo>
                  <a:lnTo>
                    <a:pt x="3920" y="910"/>
                  </a:lnTo>
                  <a:lnTo>
                    <a:pt x="3890" y="868"/>
                  </a:lnTo>
                  <a:lnTo>
                    <a:pt x="3858" y="828"/>
                  </a:lnTo>
                  <a:lnTo>
                    <a:pt x="3825" y="787"/>
                  </a:lnTo>
                  <a:lnTo>
                    <a:pt x="3793" y="747"/>
                  </a:lnTo>
                  <a:lnTo>
                    <a:pt x="3758" y="708"/>
                  </a:lnTo>
                  <a:lnTo>
                    <a:pt x="3722" y="670"/>
                  </a:lnTo>
                  <a:lnTo>
                    <a:pt x="3687" y="633"/>
                  </a:lnTo>
                  <a:lnTo>
                    <a:pt x="3650" y="598"/>
                  </a:lnTo>
                  <a:lnTo>
                    <a:pt x="3611" y="562"/>
                  </a:lnTo>
                  <a:lnTo>
                    <a:pt x="3572" y="527"/>
                  </a:lnTo>
                  <a:lnTo>
                    <a:pt x="3533" y="495"/>
                  </a:lnTo>
                  <a:lnTo>
                    <a:pt x="3492" y="462"/>
                  </a:lnTo>
                  <a:lnTo>
                    <a:pt x="3452" y="430"/>
                  </a:lnTo>
                  <a:lnTo>
                    <a:pt x="3410" y="400"/>
                  </a:lnTo>
                  <a:lnTo>
                    <a:pt x="3367" y="370"/>
                  </a:lnTo>
                  <a:lnTo>
                    <a:pt x="3323" y="341"/>
                  </a:lnTo>
                  <a:lnTo>
                    <a:pt x="3279" y="314"/>
                  </a:lnTo>
                  <a:lnTo>
                    <a:pt x="3234" y="287"/>
                  </a:lnTo>
                  <a:lnTo>
                    <a:pt x="3189" y="262"/>
                  </a:lnTo>
                  <a:lnTo>
                    <a:pt x="3142" y="237"/>
                  </a:lnTo>
                  <a:lnTo>
                    <a:pt x="3096" y="214"/>
                  </a:lnTo>
                  <a:lnTo>
                    <a:pt x="3048" y="191"/>
                  </a:lnTo>
                  <a:lnTo>
                    <a:pt x="3000" y="171"/>
                  </a:lnTo>
                  <a:lnTo>
                    <a:pt x="2951" y="150"/>
                  </a:lnTo>
                  <a:lnTo>
                    <a:pt x="2902" y="132"/>
                  </a:lnTo>
                  <a:lnTo>
                    <a:pt x="2852" y="113"/>
                  </a:lnTo>
                  <a:lnTo>
                    <a:pt x="2802" y="97"/>
                  </a:lnTo>
                  <a:lnTo>
                    <a:pt x="2751" y="83"/>
                  </a:lnTo>
                  <a:lnTo>
                    <a:pt x="2699" y="68"/>
                  </a:lnTo>
                  <a:lnTo>
                    <a:pt x="2647" y="55"/>
                  </a:lnTo>
                  <a:lnTo>
                    <a:pt x="2594" y="44"/>
                  </a:lnTo>
                  <a:lnTo>
                    <a:pt x="2542" y="34"/>
                  </a:lnTo>
                  <a:lnTo>
                    <a:pt x="2488" y="26"/>
                  </a:lnTo>
                  <a:lnTo>
                    <a:pt x="2435" y="17"/>
                  </a:lnTo>
                  <a:lnTo>
                    <a:pt x="2381" y="11"/>
                  </a:lnTo>
                  <a:lnTo>
                    <a:pt x="2326" y="6"/>
                  </a:lnTo>
                  <a:lnTo>
                    <a:pt x="2271" y="3"/>
                  </a:lnTo>
                  <a:lnTo>
                    <a:pt x="2215" y="1"/>
                  </a:lnTo>
                  <a:lnTo>
                    <a:pt x="2160" y="0"/>
                  </a:lnTo>
                  <a:lnTo>
                    <a:pt x="2160" y="0"/>
                  </a:lnTo>
                  <a:close/>
                  <a:moveTo>
                    <a:pt x="2147" y="3846"/>
                  </a:moveTo>
                  <a:lnTo>
                    <a:pt x="2132" y="3845"/>
                  </a:lnTo>
                  <a:lnTo>
                    <a:pt x="2132" y="3845"/>
                  </a:lnTo>
                  <a:lnTo>
                    <a:pt x="2127" y="3844"/>
                  </a:lnTo>
                  <a:lnTo>
                    <a:pt x="2122" y="3842"/>
                  </a:lnTo>
                  <a:lnTo>
                    <a:pt x="2118" y="3838"/>
                  </a:lnTo>
                  <a:lnTo>
                    <a:pt x="2116" y="3833"/>
                  </a:lnTo>
                  <a:lnTo>
                    <a:pt x="2116" y="3833"/>
                  </a:lnTo>
                  <a:lnTo>
                    <a:pt x="2101" y="3779"/>
                  </a:lnTo>
                  <a:lnTo>
                    <a:pt x="2101" y="3779"/>
                  </a:lnTo>
                  <a:lnTo>
                    <a:pt x="2086" y="3725"/>
                  </a:lnTo>
                  <a:lnTo>
                    <a:pt x="2086" y="3725"/>
                  </a:lnTo>
                  <a:lnTo>
                    <a:pt x="2084" y="3720"/>
                  </a:lnTo>
                  <a:lnTo>
                    <a:pt x="2080" y="3716"/>
                  </a:lnTo>
                  <a:lnTo>
                    <a:pt x="2076" y="3714"/>
                  </a:lnTo>
                  <a:lnTo>
                    <a:pt x="2071" y="3712"/>
                  </a:lnTo>
                  <a:lnTo>
                    <a:pt x="2007" y="3708"/>
                  </a:lnTo>
                  <a:lnTo>
                    <a:pt x="2007" y="3708"/>
                  </a:lnTo>
                  <a:lnTo>
                    <a:pt x="2002" y="3708"/>
                  </a:lnTo>
                  <a:lnTo>
                    <a:pt x="1997" y="3710"/>
                  </a:lnTo>
                  <a:lnTo>
                    <a:pt x="1993" y="3713"/>
                  </a:lnTo>
                  <a:lnTo>
                    <a:pt x="1990" y="3718"/>
                  </a:lnTo>
                  <a:lnTo>
                    <a:pt x="1990" y="3718"/>
                  </a:lnTo>
                  <a:lnTo>
                    <a:pt x="1968" y="3769"/>
                  </a:lnTo>
                  <a:lnTo>
                    <a:pt x="1968" y="3769"/>
                  </a:lnTo>
                  <a:lnTo>
                    <a:pt x="1944" y="3820"/>
                  </a:lnTo>
                  <a:lnTo>
                    <a:pt x="1944" y="3820"/>
                  </a:lnTo>
                  <a:lnTo>
                    <a:pt x="1941" y="3824"/>
                  </a:lnTo>
                  <a:lnTo>
                    <a:pt x="1937" y="3828"/>
                  </a:lnTo>
                  <a:lnTo>
                    <a:pt x="1932" y="3830"/>
                  </a:lnTo>
                  <a:lnTo>
                    <a:pt x="1926" y="3830"/>
                  </a:lnTo>
                  <a:lnTo>
                    <a:pt x="1926" y="3830"/>
                  </a:lnTo>
                  <a:lnTo>
                    <a:pt x="1918" y="3829"/>
                  </a:lnTo>
                  <a:lnTo>
                    <a:pt x="1897" y="3825"/>
                  </a:lnTo>
                  <a:lnTo>
                    <a:pt x="1897" y="3825"/>
                  </a:lnTo>
                  <a:lnTo>
                    <a:pt x="1869" y="3820"/>
                  </a:lnTo>
                  <a:lnTo>
                    <a:pt x="1869" y="3820"/>
                  </a:lnTo>
                  <a:lnTo>
                    <a:pt x="1864" y="3818"/>
                  </a:lnTo>
                  <a:lnTo>
                    <a:pt x="1860" y="3815"/>
                  </a:lnTo>
                  <a:lnTo>
                    <a:pt x="1857" y="3811"/>
                  </a:lnTo>
                  <a:lnTo>
                    <a:pt x="1854" y="3806"/>
                  </a:lnTo>
                  <a:lnTo>
                    <a:pt x="1854" y="3806"/>
                  </a:lnTo>
                  <a:lnTo>
                    <a:pt x="1847" y="3750"/>
                  </a:lnTo>
                  <a:lnTo>
                    <a:pt x="1847" y="3750"/>
                  </a:lnTo>
                  <a:lnTo>
                    <a:pt x="1842" y="3695"/>
                  </a:lnTo>
                  <a:lnTo>
                    <a:pt x="1842" y="3695"/>
                  </a:lnTo>
                  <a:lnTo>
                    <a:pt x="1841" y="3690"/>
                  </a:lnTo>
                  <a:lnTo>
                    <a:pt x="1838" y="3685"/>
                  </a:lnTo>
                  <a:lnTo>
                    <a:pt x="1834" y="3681"/>
                  </a:lnTo>
                  <a:lnTo>
                    <a:pt x="1830" y="3679"/>
                  </a:lnTo>
                  <a:lnTo>
                    <a:pt x="1830" y="3679"/>
                  </a:lnTo>
                  <a:lnTo>
                    <a:pt x="1798" y="3672"/>
                  </a:lnTo>
                  <a:lnTo>
                    <a:pt x="1798" y="3672"/>
                  </a:lnTo>
                  <a:lnTo>
                    <a:pt x="1776" y="3667"/>
                  </a:lnTo>
                  <a:lnTo>
                    <a:pt x="1776" y="3667"/>
                  </a:lnTo>
                  <a:lnTo>
                    <a:pt x="1767" y="3665"/>
                  </a:lnTo>
                  <a:lnTo>
                    <a:pt x="1767" y="3665"/>
                  </a:lnTo>
                  <a:lnTo>
                    <a:pt x="1762" y="3664"/>
                  </a:lnTo>
                  <a:lnTo>
                    <a:pt x="1756" y="3666"/>
                  </a:lnTo>
                  <a:lnTo>
                    <a:pt x="1752" y="3668"/>
                  </a:lnTo>
                  <a:lnTo>
                    <a:pt x="1748" y="3672"/>
                  </a:lnTo>
                  <a:lnTo>
                    <a:pt x="1748" y="3672"/>
                  </a:lnTo>
                  <a:lnTo>
                    <a:pt x="1719" y="3719"/>
                  </a:lnTo>
                  <a:lnTo>
                    <a:pt x="1719" y="3719"/>
                  </a:lnTo>
                  <a:lnTo>
                    <a:pt x="1688" y="3766"/>
                  </a:lnTo>
                  <a:lnTo>
                    <a:pt x="1688" y="3766"/>
                  </a:lnTo>
                  <a:lnTo>
                    <a:pt x="1684" y="3770"/>
                  </a:lnTo>
                  <a:lnTo>
                    <a:pt x="1679" y="3772"/>
                  </a:lnTo>
                  <a:lnTo>
                    <a:pt x="1674" y="3773"/>
                  </a:lnTo>
                  <a:lnTo>
                    <a:pt x="1669" y="3773"/>
                  </a:lnTo>
                  <a:lnTo>
                    <a:pt x="1669" y="3773"/>
                  </a:lnTo>
                  <a:lnTo>
                    <a:pt x="1659" y="3770"/>
                  </a:lnTo>
                  <a:lnTo>
                    <a:pt x="1659" y="3770"/>
                  </a:lnTo>
                  <a:lnTo>
                    <a:pt x="1651" y="3767"/>
                  </a:lnTo>
                  <a:lnTo>
                    <a:pt x="1651" y="3767"/>
                  </a:lnTo>
                  <a:lnTo>
                    <a:pt x="1627" y="3759"/>
                  </a:lnTo>
                  <a:lnTo>
                    <a:pt x="1612" y="3755"/>
                  </a:lnTo>
                  <a:lnTo>
                    <a:pt x="1612" y="3755"/>
                  </a:lnTo>
                  <a:lnTo>
                    <a:pt x="1608" y="3752"/>
                  </a:lnTo>
                  <a:lnTo>
                    <a:pt x="1604" y="3748"/>
                  </a:lnTo>
                  <a:lnTo>
                    <a:pt x="1601" y="3744"/>
                  </a:lnTo>
                  <a:lnTo>
                    <a:pt x="1601" y="3739"/>
                  </a:lnTo>
                  <a:lnTo>
                    <a:pt x="1601" y="3739"/>
                  </a:lnTo>
                  <a:lnTo>
                    <a:pt x="1603" y="3682"/>
                  </a:lnTo>
                  <a:lnTo>
                    <a:pt x="1603" y="3682"/>
                  </a:lnTo>
                  <a:lnTo>
                    <a:pt x="1606" y="3626"/>
                  </a:lnTo>
                  <a:lnTo>
                    <a:pt x="1606" y="3626"/>
                  </a:lnTo>
                  <a:lnTo>
                    <a:pt x="1606" y="3621"/>
                  </a:lnTo>
                  <a:lnTo>
                    <a:pt x="1603" y="3616"/>
                  </a:lnTo>
                  <a:lnTo>
                    <a:pt x="1600" y="3612"/>
                  </a:lnTo>
                  <a:lnTo>
                    <a:pt x="1596" y="3609"/>
                  </a:lnTo>
                  <a:lnTo>
                    <a:pt x="1596" y="3609"/>
                  </a:lnTo>
                  <a:lnTo>
                    <a:pt x="1566" y="3598"/>
                  </a:lnTo>
                  <a:lnTo>
                    <a:pt x="1566" y="3598"/>
                  </a:lnTo>
                  <a:lnTo>
                    <a:pt x="1545" y="3588"/>
                  </a:lnTo>
                  <a:lnTo>
                    <a:pt x="1545" y="3588"/>
                  </a:lnTo>
                  <a:lnTo>
                    <a:pt x="1536" y="3584"/>
                  </a:lnTo>
                  <a:lnTo>
                    <a:pt x="1536" y="3584"/>
                  </a:lnTo>
                  <a:lnTo>
                    <a:pt x="1532" y="3583"/>
                  </a:lnTo>
                  <a:lnTo>
                    <a:pt x="1527" y="3584"/>
                  </a:lnTo>
                  <a:lnTo>
                    <a:pt x="1521" y="3585"/>
                  </a:lnTo>
                  <a:lnTo>
                    <a:pt x="1517" y="3589"/>
                  </a:lnTo>
                  <a:lnTo>
                    <a:pt x="1517" y="3589"/>
                  </a:lnTo>
                  <a:lnTo>
                    <a:pt x="1481" y="3631"/>
                  </a:lnTo>
                  <a:lnTo>
                    <a:pt x="1481" y="3631"/>
                  </a:lnTo>
                  <a:lnTo>
                    <a:pt x="1442" y="3672"/>
                  </a:lnTo>
                  <a:lnTo>
                    <a:pt x="1442" y="3672"/>
                  </a:lnTo>
                  <a:lnTo>
                    <a:pt x="1438" y="3675"/>
                  </a:lnTo>
                  <a:lnTo>
                    <a:pt x="1433" y="3677"/>
                  </a:lnTo>
                  <a:lnTo>
                    <a:pt x="1427" y="3677"/>
                  </a:lnTo>
                  <a:lnTo>
                    <a:pt x="1421" y="3676"/>
                  </a:lnTo>
                  <a:lnTo>
                    <a:pt x="1370" y="3650"/>
                  </a:lnTo>
                  <a:lnTo>
                    <a:pt x="1370" y="3650"/>
                  </a:lnTo>
                  <a:lnTo>
                    <a:pt x="1365" y="3647"/>
                  </a:lnTo>
                  <a:lnTo>
                    <a:pt x="1362" y="3642"/>
                  </a:lnTo>
                  <a:lnTo>
                    <a:pt x="1361" y="3636"/>
                  </a:lnTo>
                  <a:lnTo>
                    <a:pt x="1361" y="3631"/>
                  </a:lnTo>
                  <a:lnTo>
                    <a:pt x="1361" y="3631"/>
                  </a:lnTo>
                  <a:lnTo>
                    <a:pt x="1372" y="3576"/>
                  </a:lnTo>
                  <a:lnTo>
                    <a:pt x="1372" y="3576"/>
                  </a:lnTo>
                  <a:lnTo>
                    <a:pt x="1383" y="3521"/>
                  </a:lnTo>
                  <a:lnTo>
                    <a:pt x="1383" y="3521"/>
                  </a:lnTo>
                  <a:lnTo>
                    <a:pt x="1384" y="3516"/>
                  </a:lnTo>
                  <a:lnTo>
                    <a:pt x="1382" y="3511"/>
                  </a:lnTo>
                  <a:lnTo>
                    <a:pt x="1380" y="3507"/>
                  </a:lnTo>
                  <a:lnTo>
                    <a:pt x="1376" y="3504"/>
                  </a:lnTo>
                  <a:lnTo>
                    <a:pt x="1376" y="3504"/>
                  </a:lnTo>
                  <a:lnTo>
                    <a:pt x="1368" y="3499"/>
                  </a:lnTo>
                  <a:lnTo>
                    <a:pt x="1349" y="3487"/>
                  </a:lnTo>
                  <a:lnTo>
                    <a:pt x="1349" y="3487"/>
                  </a:lnTo>
                  <a:lnTo>
                    <a:pt x="1321" y="3469"/>
                  </a:lnTo>
                  <a:lnTo>
                    <a:pt x="1321" y="3469"/>
                  </a:lnTo>
                  <a:lnTo>
                    <a:pt x="1317" y="3468"/>
                  </a:lnTo>
                  <a:lnTo>
                    <a:pt x="1311" y="3467"/>
                  </a:lnTo>
                  <a:lnTo>
                    <a:pt x="1306" y="3468"/>
                  </a:lnTo>
                  <a:lnTo>
                    <a:pt x="1302" y="3471"/>
                  </a:lnTo>
                  <a:lnTo>
                    <a:pt x="1302" y="3471"/>
                  </a:lnTo>
                  <a:lnTo>
                    <a:pt x="1259" y="3507"/>
                  </a:lnTo>
                  <a:lnTo>
                    <a:pt x="1259" y="3507"/>
                  </a:lnTo>
                  <a:lnTo>
                    <a:pt x="1214" y="3541"/>
                  </a:lnTo>
                  <a:lnTo>
                    <a:pt x="1214" y="3541"/>
                  </a:lnTo>
                  <a:lnTo>
                    <a:pt x="1210" y="3543"/>
                  </a:lnTo>
                  <a:lnTo>
                    <a:pt x="1205" y="3544"/>
                  </a:lnTo>
                  <a:lnTo>
                    <a:pt x="1199" y="3543"/>
                  </a:lnTo>
                  <a:lnTo>
                    <a:pt x="1194" y="3541"/>
                  </a:lnTo>
                  <a:lnTo>
                    <a:pt x="1179" y="3531"/>
                  </a:lnTo>
                  <a:lnTo>
                    <a:pt x="1179" y="3531"/>
                  </a:lnTo>
                  <a:lnTo>
                    <a:pt x="1159" y="3516"/>
                  </a:lnTo>
                  <a:lnTo>
                    <a:pt x="1159" y="3516"/>
                  </a:lnTo>
                  <a:lnTo>
                    <a:pt x="1153" y="3512"/>
                  </a:lnTo>
                  <a:lnTo>
                    <a:pt x="1153" y="3512"/>
                  </a:lnTo>
                  <a:lnTo>
                    <a:pt x="1146" y="3508"/>
                  </a:lnTo>
                  <a:lnTo>
                    <a:pt x="1146" y="3508"/>
                  </a:lnTo>
                  <a:lnTo>
                    <a:pt x="1143" y="3504"/>
                  </a:lnTo>
                  <a:lnTo>
                    <a:pt x="1140" y="3499"/>
                  </a:lnTo>
                  <a:lnTo>
                    <a:pt x="1139" y="3493"/>
                  </a:lnTo>
                  <a:lnTo>
                    <a:pt x="1140" y="3487"/>
                  </a:lnTo>
                  <a:lnTo>
                    <a:pt x="1140" y="3487"/>
                  </a:lnTo>
                  <a:lnTo>
                    <a:pt x="1160" y="3435"/>
                  </a:lnTo>
                  <a:lnTo>
                    <a:pt x="1160" y="3435"/>
                  </a:lnTo>
                  <a:lnTo>
                    <a:pt x="1180" y="3383"/>
                  </a:lnTo>
                  <a:lnTo>
                    <a:pt x="1180" y="3383"/>
                  </a:lnTo>
                  <a:lnTo>
                    <a:pt x="1181" y="3378"/>
                  </a:lnTo>
                  <a:lnTo>
                    <a:pt x="1181" y="3373"/>
                  </a:lnTo>
                  <a:lnTo>
                    <a:pt x="1179" y="3368"/>
                  </a:lnTo>
                  <a:lnTo>
                    <a:pt x="1176" y="3364"/>
                  </a:lnTo>
                  <a:lnTo>
                    <a:pt x="1176" y="3364"/>
                  </a:lnTo>
                  <a:lnTo>
                    <a:pt x="1168" y="3358"/>
                  </a:lnTo>
                  <a:lnTo>
                    <a:pt x="1168" y="3358"/>
                  </a:lnTo>
                  <a:lnTo>
                    <a:pt x="1152" y="3343"/>
                  </a:lnTo>
                  <a:lnTo>
                    <a:pt x="1152" y="3343"/>
                  </a:lnTo>
                  <a:lnTo>
                    <a:pt x="1127" y="3322"/>
                  </a:lnTo>
                  <a:lnTo>
                    <a:pt x="1127" y="3322"/>
                  </a:lnTo>
                  <a:lnTo>
                    <a:pt x="1122" y="3320"/>
                  </a:lnTo>
                  <a:lnTo>
                    <a:pt x="1117" y="3319"/>
                  </a:lnTo>
                  <a:lnTo>
                    <a:pt x="1112" y="3319"/>
                  </a:lnTo>
                  <a:lnTo>
                    <a:pt x="1107" y="3321"/>
                  </a:lnTo>
                  <a:lnTo>
                    <a:pt x="1107" y="3321"/>
                  </a:lnTo>
                  <a:lnTo>
                    <a:pt x="1059" y="3348"/>
                  </a:lnTo>
                  <a:lnTo>
                    <a:pt x="1059" y="3348"/>
                  </a:lnTo>
                  <a:lnTo>
                    <a:pt x="1011" y="3376"/>
                  </a:lnTo>
                  <a:lnTo>
                    <a:pt x="1011" y="3376"/>
                  </a:lnTo>
                  <a:lnTo>
                    <a:pt x="1005" y="3378"/>
                  </a:lnTo>
                  <a:lnTo>
                    <a:pt x="999" y="3378"/>
                  </a:lnTo>
                  <a:lnTo>
                    <a:pt x="994" y="3376"/>
                  </a:lnTo>
                  <a:lnTo>
                    <a:pt x="990" y="3373"/>
                  </a:lnTo>
                  <a:lnTo>
                    <a:pt x="990" y="3373"/>
                  </a:lnTo>
                  <a:lnTo>
                    <a:pt x="969" y="3353"/>
                  </a:lnTo>
                  <a:lnTo>
                    <a:pt x="969" y="3353"/>
                  </a:lnTo>
                  <a:lnTo>
                    <a:pt x="948" y="3332"/>
                  </a:lnTo>
                  <a:lnTo>
                    <a:pt x="948" y="3332"/>
                  </a:lnTo>
                  <a:lnTo>
                    <a:pt x="945" y="3328"/>
                  </a:lnTo>
                  <a:lnTo>
                    <a:pt x="944" y="3322"/>
                  </a:lnTo>
                  <a:lnTo>
                    <a:pt x="944" y="3317"/>
                  </a:lnTo>
                  <a:lnTo>
                    <a:pt x="945" y="3312"/>
                  </a:lnTo>
                  <a:lnTo>
                    <a:pt x="945" y="3312"/>
                  </a:lnTo>
                  <a:lnTo>
                    <a:pt x="973" y="3262"/>
                  </a:lnTo>
                  <a:lnTo>
                    <a:pt x="973" y="3262"/>
                  </a:lnTo>
                  <a:lnTo>
                    <a:pt x="1001" y="3214"/>
                  </a:lnTo>
                  <a:lnTo>
                    <a:pt x="1001" y="3214"/>
                  </a:lnTo>
                  <a:lnTo>
                    <a:pt x="1003" y="3210"/>
                  </a:lnTo>
                  <a:lnTo>
                    <a:pt x="1003" y="3204"/>
                  </a:lnTo>
                  <a:lnTo>
                    <a:pt x="1002" y="3199"/>
                  </a:lnTo>
                  <a:lnTo>
                    <a:pt x="999" y="3195"/>
                  </a:lnTo>
                  <a:lnTo>
                    <a:pt x="999" y="3195"/>
                  </a:lnTo>
                  <a:lnTo>
                    <a:pt x="979" y="3171"/>
                  </a:lnTo>
                  <a:lnTo>
                    <a:pt x="979" y="3171"/>
                  </a:lnTo>
                  <a:lnTo>
                    <a:pt x="957" y="3146"/>
                  </a:lnTo>
                  <a:lnTo>
                    <a:pt x="957" y="3146"/>
                  </a:lnTo>
                  <a:lnTo>
                    <a:pt x="953" y="3143"/>
                  </a:lnTo>
                  <a:lnTo>
                    <a:pt x="949" y="3141"/>
                  </a:lnTo>
                  <a:lnTo>
                    <a:pt x="944" y="3140"/>
                  </a:lnTo>
                  <a:lnTo>
                    <a:pt x="939" y="3141"/>
                  </a:lnTo>
                  <a:lnTo>
                    <a:pt x="939" y="3141"/>
                  </a:lnTo>
                  <a:lnTo>
                    <a:pt x="887" y="3161"/>
                  </a:lnTo>
                  <a:lnTo>
                    <a:pt x="887" y="3161"/>
                  </a:lnTo>
                  <a:lnTo>
                    <a:pt x="834" y="3182"/>
                  </a:lnTo>
                  <a:lnTo>
                    <a:pt x="834" y="3182"/>
                  </a:lnTo>
                  <a:lnTo>
                    <a:pt x="829" y="3182"/>
                  </a:lnTo>
                  <a:lnTo>
                    <a:pt x="824" y="3182"/>
                  </a:lnTo>
                  <a:lnTo>
                    <a:pt x="818" y="3179"/>
                  </a:lnTo>
                  <a:lnTo>
                    <a:pt x="814" y="3176"/>
                  </a:lnTo>
                  <a:lnTo>
                    <a:pt x="814" y="3176"/>
                  </a:lnTo>
                  <a:lnTo>
                    <a:pt x="808" y="3168"/>
                  </a:lnTo>
                  <a:lnTo>
                    <a:pt x="808" y="3168"/>
                  </a:lnTo>
                  <a:lnTo>
                    <a:pt x="803" y="3161"/>
                  </a:lnTo>
                  <a:lnTo>
                    <a:pt x="803" y="3161"/>
                  </a:lnTo>
                  <a:lnTo>
                    <a:pt x="789" y="3141"/>
                  </a:lnTo>
                  <a:lnTo>
                    <a:pt x="780" y="3129"/>
                  </a:lnTo>
                  <a:lnTo>
                    <a:pt x="780" y="3129"/>
                  </a:lnTo>
                  <a:lnTo>
                    <a:pt x="778" y="3124"/>
                  </a:lnTo>
                  <a:lnTo>
                    <a:pt x="777" y="3117"/>
                  </a:lnTo>
                  <a:lnTo>
                    <a:pt x="778" y="3112"/>
                  </a:lnTo>
                  <a:lnTo>
                    <a:pt x="780" y="3108"/>
                  </a:lnTo>
                  <a:lnTo>
                    <a:pt x="780" y="3108"/>
                  </a:lnTo>
                  <a:lnTo>
                    <a:pt x="814" y="3064"/>
                  </a:lnTo>
                  <a:lnTo>
                    <a:pt x="814" y="3064"/>
                  </a:lnTo>
                  <a:lnTo>
                    <a:pt x="850" y="3020"/>
                  </a:lnTo>
                  <a:lnTo>
                    <a:pt x="850" y="3020"/>
                  </a:lnTo>
                  <a:lnTo>
                    <a:pt x="853" y="3016"/>
                  </a:lnTo>
                  <a:lnTo>
                    <a:pt x="854" y="3011"/>
                  </a:lnTo>
                  <a:lnTo>
                    <a:pt x="854" y="3005"/>
                  </a:lnTo>
                  <a:lnTo>
                    <a:pt x="852" y="3001"/>
                  </a:lnTo>
                  <a:lnTo>
                    <a:pt x="852" y="3001"/>
                  </a:lnTo>
                  <a:lnTo>
                    <a:pt x="835" y="2973"/>
                  </a:lnTo>
                  <a:lnTo>
                    <a:pt x="835" y="2973"/>
                  </a:lnTo>
                  <a:lnTo>
                    <a:pt x="823" y="2955"/>
                  </a:lnTo>
                  <a:lnTo>
                    <a:pt x="818" y="2946"/>
                  </a:lnTo>
                  <a:lnTo>
                    <a:pt x="818" y="2946"/>
                  </a:lnTo>
                  <a:lnTo>
                    <a:pt x="814" y="2942"/>
                  </a:lnTo>
                  <a:lnTo>
                    <a:pt x="810" y="2940"/>
                  </a:lnTo>
                  <a:lnTo>
                    <a:pt x="805" y="2938"/>
                  </a:lnTo>
                  <a:lnTo>
                    <a:pt x="800" y="2939"/>
                  </a:lnTo>
                  <a:lnTo>
                    <a:pt x="800" y="2939"/>
                  </a:lnTo>
                  <a:lnTo>
                    <a:pt x="745" y="2951"/>
                  </a:lnTo>
                  <a:lnTo>
                    <a:pt x="745" y="2951"/>
                  </a:lnTo>
                  <a:lnTo>
                    <a:pt x="690" y="2962"/>
                  </a:lnTo>
                  <a:lnTo>
                    <a:pt x="690" y="2962"/>
                  </a:lnTo>
                  <a:lnTo>
                    <a:pt x="685" y="2962"/>
                  </a:lnTo>
                  <a:lnTo>
                    <a:pt x="679" y="2960"/>
                  </a:lnTo>
                  <a:lnTo>
                    <a:pt x="675" y="2957"/>
                  </a:lnTo>
                  <a:lnTo>
                    <a:pt x="671" y="2953"/>
                  </a:lnTo>
                  <a:lnTo>
                    <a:pt x="645" y="2901"/>
                  </a:lnTo>
                  <a:lnTo>
                    <a:pt x="645" y="2901"/>
                  </a:lnTo>
                  <a:lnTo>
                    <a:pt x="644" y="2896"/>
                  </a:lnTo>
                  <a:lnTo>
                    <a:pt x="644" y="2890"/>
                  </a:lnTo>
                  <a:lnTo>
                    <a:pt x="646" y="2884"/>
                  </a:lnTo>
                  <a:lnTo>
                    <a:pt x="649" y="2880"/>
                  </a:lnTo>
                  <a:lnTo>
                    <a:pt x="649" y="2880"/>
                  </a:lnTo>
                  <a:lnTo>
                    <a:pt x="690" y="2843"/>
                  </a:lnTo>
                  <a:lnTo>
                    <a:pt x="690" y="2843"/>
                  </a:lnTo>
                  <a:lnTo>
                    <a:pt x="732" y="2805"/>
                  </a:lnTo>
                  <a:lnTo>
                    <a:pt x="732" y="2805"/>
                  </a:lnTo>
                  <a:lnTo>
                    <a:pt x="735" y="2801"/>
                  </a:lnTo>
                  <a:lnTo>
                    <a:pt x="737" y="2796"/>
                  </a:lnTo>
                  <a:lnTo>
                    <a:pt x="738" y="2790"/>
                  </a:lnTo>
                  <a:lnTo>
                    <a:pt x="737" y="2786"/>
                  </a:lnTo>
                  <a:lnTo>
                    <a:pt x="737" y="2786"/>
                  </a:lnTo>
                  <a:lnTo>
                    <a:pt x="733" y="2777"/>
                  </a:lnTo>
                  <a:lnTo>
                    <a:pt x="733" y="2777"/>
                  </a:lnTo>
                  <a:lnTo>
                    <a:pt x="727" y="2767"/>
                  </a:lnTo>
                  <a:lnTo>
                    <a:pt x="723" y="2757"/>
                  </a:lnTo>
                  <a:lnTo>
                    <a:pt x="723" y="2757"/>
                  </a:lnTo>
                  <a:lnTo>
                    <a:pt x="711" y="2726"/>
                  </a:lnTo>
                  <a:lnTo>
                    <a:pt x="711" y="2726"/>
                  </a:lnTo>
                  <a:lnTo>
                    <a:pt x="709" y="2722"/>
                  </a:lnTo>
                  <a:lnTo>
                    <a:pt x="705" y="2719"/>
                  </a:lnTo>
                  <a:lnTo>
                    <a:pt x="700" y="2717"/>
                  </a:lnTo>
                  <a:lnTo>
                    <a:pt x="695" y="2716"/>
                  </a:lnTo>
                  <a:lnTo>
                    <a:pt x="695" y="2716"/>
                  </a:lnTo>
                  <a:lnTo>
                    <a:pt x="639" y="2720"/>
                  </a:lnTo>
                  <a:lnTo>
                    <a:pt x="639" y="2720"/>
                  </a:lnTo>
                  <a:lnTo>
                    <a:pt x="582" y="2722"/>
                  </a:lnTo>
                  <a:lnTo>
                    <a:pt x="582" y="2722"/>
                  </a:lnTo>
                  <a:lnTo>
                    <a:pt x="577" y="2721"/>
                  </a:lnTo>
                  <a:lnTo>
                    <a:pt x="572" y="2719"/>
                  </a:lnTo>
                  <a:lnTo>
                    <a:pt x="569" y="2715"/>
                  </a:lnTo>
                  <a:lnTo>
                    <a:pt x="566" y="2710"/>
                  </a:lnTo>
                  <a:lnTo>
                    <a:pt x="561" y="2693"/>
                  </a:lnTo>
                  <a:lnTo>
                    <a:pt x="561" y="2693"/>
                  </a:lnTo>
                  <a:lnTo>
                    <a:pt x="552" y="2669"/>
                  </a:lnTo>
                  <a:lnTo>
                    <a:pt x="552" y="2669"/>
                  </a:lnTo>
                  <a:lnTo>
                    <a:pt x="550" y="2662"/>
                  </a:lnTo>
                  <a:lnTo>
                    <a:pt x="550" y="2662"/>
                  </a:lnTo>
                  <a:lnTo>
                    <a:pt x="548" y="2655"/>
                  </a:lnTo>
                  <a:lnTo>
                    <a:pt x="548" y="2655"/>
                  </a:lnTo>
                  <a:lnTo>
                    <a:pt x="548" y="2649"/>
                  </a:lnTo>
                  <a:lnTo>
                    <a:pt x="549" y="2643"/>
                  </a:lnTo>
                  <a:lnTo>
                    <a:pt x="551" y="2639"/>
                  </a:lnTo>
                  <a:lnTo>
                    <a:pt x="555" y="2635"/>
                  </a:lnTo>
                  <a:lnTo>
                    <a:pt x="555" y="2635"/>
                  </a:lnTo>
                  <a:lnTo>
                    <a:pt x="602" y="2603"/>
                  </a:lnTo>
                  <a:lnTo>
                    <a:pt x="602" y="2603"/>
                  </a:lnTo>
                  <a:lnTo>
                    <a:pt x="649" y="2574"/>
                  </a:lnTo>
                  <a:lnTo>
                    <a:pt x="649" y="2574"/>
                  </a:lnTo>
                  <a:lnTo>
                    <a:pt x="652" y="2571"/>
                  </a:lnTo>
                  <a:lnTo>
                    <a:pt x="655" y="2566"/>
                  </a:lnTo>
                  <a:lnTo>
                    <a:pt x="656" y="2561"/>
                  </a:lnTo>
                  <a:lnTo>
                    <a:pt x="656" y="2555"/>
                  </a:lnTo>
                  <a:lnTo>
                    <a:pt x="656" y="2555"/>
                  </a:lnTo>
                  <a:lnTo>
                    <a:pt x="653" y="2546"/>
                  </a:lnTo>
                  <a:lnTo>
                    <a:pt x="653" y="2546"/>
                  </a:lnTo>
                  <a:lnTo>
                    <a:pt x="648" y="2525"/>
                  </a:lnTo>
                  <a:lnTo>
                    <a:pt x="648" y="2525"/>
                  </a:lnTo>
                  <a:lnTo>
                    <a:pt x="641" y="2493"/>
                  </a:lnTo>
                  <a:lnTo>
                    <a:pt x="641" y="2493"/>
                  </a:lnTo>
                  <a:lnTo>
                    <a:pt x="639" y="2488"/>
                  </a:lnTo>
                  <a:lnTo>
                    <a:pt x="636" y="2484"/>
                  </a:lnTo>
                  <a:lnTo>
                    <a:pt x="630" y="2482"/>
                  </a:lnTo>
                  <a:lnTo>
                    <a:pt x="625" y="2480"/>
                  </a:lnTo>
                  <a:lnTo>
                    <a:pt x="625" y="2480"/>
                  </a:lnTo>
                  <a:lnTo>
                    <a:pt x="570" y="2475"/>
                  </a:lnTo>
                  <a:lnTo>
                    <a:pt x="570" y="2475"/>
                  </a:lnTo>
                  <a:lnTo>
                    <a:pt x="515" y="2469"/>
                  </a:lnTo>
                  <a:lnTo>
                    <a:pt x="515" y="2469"/>
                  </a:lnTo>
                  <a:lnTo>
                    <a:pt x="510" y="2467"/>
                  </a:lnTo>
                  <a:lnTo>
                    <a:pt x="505" y="2463"/>
                  </a:lnTo>
                  <a:lnTo>
                    <a:pt x="502" y="2458"/>
                  </a:lnTo>
                  <a:lnTo>
                    <a:pt x="500" y="2454"/>
                  </a:lnTo>
                  <a:lnTo>
                    <a:pt x="500" y="2454"/>
                  </a:lnTo>
                  <a:lnTo>
                    <a:pt x="495" y="2425"/>
                  </a:lnTo>
                  <a:lnTo>
                    <a:pt x="495" y="2425"/>
                  </a:lnTo>
                  <a:lnTo>
                    <a:pt x="491" y="2405"/>
                  </a:lnTo>
                  <a:lnTo>
                    <a:pt x="490" y="2396"/>
                  </a:lnTo>
                  <a:lnTo>
                    <a:pt x="490" y="2396"/>
                  </a:lnTo>
                  <a:lnTo>
                    <a:pt x="490" y="2391"/>
                  </a:lnTo>
                  <a:lnTo>
                    <a:pt x="492" y="2386"/>
                  </a:lnTo>
                  <a:lnTo>
                    <a:pt x="497" y="2381"/>
                  </a:lnTo>
                  <a:lnTo>
                    <a:pt x="501" y="2378"/>
                  </a:lnTo>
                  <a:lnTo>
                    <a:pt x="501" y="2378"/>
                  </a:lnTo>
                  <a:lnTo>
                    <a:pt x="552" y="2354"/>
                  </a:lnTo>
                  <a:lnTo>
                    <a:pt x="552" y="2354"/>
                  </a:lnTo>
                  <a:lnTo>
                    <a:pt x="603" y="2333"/>
                  </a:lnTo>
                  <a:lnTo>
                    <a:pt x="603" y="2333"/>
                  </a:lnTo>
                  <a:lnTo>
                    <a:pt x="607" y="2330"/>
                  </a:lnTo>
                  <a:lnTo>
                    <a:pt x="610" y="2326"/>
                  </a:lnTo>
                  <a:lnTo>
                    <a:pt x="612" y="2320"/>
                  </a:lnTo>
                  <a:lnTo>
                    <a:pt x="612" y="2315"/>
                  </a:lnTo>
                  <a:lnTo>
                    <a:pt x="608" y="2251"/>
                  </a:lnTo>
                  <a:lnTo>
                    <a:pt x="608" y="2251"/>
                  </a:lnTo>
                  <a:lnTo>
                    <a:pt x="606" y="2246"/>
                  </a:lnTo>
                  <a:lnTo>
                    <a:pt x="604" y="2242"/>
                  </a:lnTo>
                  <a:lnTo>
                    <a:pt x="600" y="2239"/>
                  </a:lnTo>
                  <a:lnTo>
                    <a:pt x="595" y="2237"/>
                  </a:lnTo>
                  <a:lnTo>
                    <a:pt x="595" y="2237"/>
                  </a:lnTo>
                  <a:lnTo>
                    <a:pt x="541" y="2222"/>
                  </a:lnTo>
                  <a:lnTo>
                    <a:pt x="541" y="2222"/>
                  </a:lnTo>
                  <a:lnTo>
                    <a:pt x="487" y="2207"/>
                  </a:lnTo>
                  <a:lnTo>
                    <a:pt x="487" y="2207"/>
                  </a:lnTo>
                  <a:lnTo>
                    <a:pt x="482" y="2205"/>
                  </a:lnTo>
                  <a:lnTo>
                    <a:pt x="478" y="2201"/>
                  </a:lnTo>
                  <a:lnTo>
                    <a:pt x="476" y="2196"/>
                  </a:lnTo>
                  <a:lnTo>
                    <a:pt x="475" y="2191"/>
                  </a:lnTo>
                  <a:lnTo>
                    <a:pt x="474" y="2173"/>
                  </a:lnTo>
                  <a:lnTo>
                    <a:pt x="474" y="2173"/>
                  </a:lnTo>
                  <a:lnTo>
                    <a:pt x="474" y="2147"/>
                  </a:lnTo>
                  <a:lnTo>
                    <a:pt x="474" y="2132"/>
                  </a:lnTo>
                  <a:lnTo>
                    <a:pt x="474" y="2132"/>
                  </a:lnTo>
                  <a:lnTo>
                    <a:pt x="476" y="2127"/>
                  </a:lnTo>
                  <a:lnTo>
                    <a:pt x="478" y="2122"/>
                  </a:lnTo>
                  <a:lnTo>
                    <a:pt x="482" y="2118"/>
                  </a:lnTo>
                  <a:lnTo>
                    <a:pt x="486" y="2116"/>
                  </a:lnTo>
                  <a:lnTo>
                    <a:pt x="486" y="2116"/>
                  </a:lnTo>
                  <a:lnTo>
                    <a:pt x="541" y="2101"/>
                  </a:lnTo>
                  <a:lnTo>
                    <a:pt x="541" y="2101"/>
                  </a:lnTo>
                  <a:lnTo>
                    <a:pt x="595" y="2086"/>
                  </a:lnTo>
                  <a:lnTo>
                    <a:pt x="595" y="2086"/>
                  </a:lnTo>
                  <a:lnTo>
                    <a:pt x="600" y="2084"/>
                  </a:lnTo>
                  <a:lnTo>
                    <a:pt x="603" y="2080"/>
                  </a:lnTo>
                  <a:lnTo>
                    <a:pt x="606" y="2076"/>
                  </a:lnTo>
                  <a:lnTo>
                    <a:pt x="607" y="2071"/>
                  </a:lnTo>
                  <a:lnTo>
                    <a:pt x="612" y="2007"/>
                  </a:lnTo>
                  <a:lnTo>
                    <a:pt x="612" y="2007"/>
                  </a:lnTo>
                  <a:lnTo>
                    <a:pt x="612" y="2002"/>
                  </a:lnTo>
                  <a:lnTo>
                    <a:pt x="610" y="1997"/>
                  </a:lnTo>
                  <a:lnTo>
                    <a:pt x="607" y="1993"/>
                  </a:lnTo>
                  <a:lnTo>
                    <a:pt x="602" y="1990"/>
                  </a:lnTo>
                  <a:lnTo>
                    <a:pt x="602" y="1990"/>
                  </a:lnTo>
                  <a:lnTo>
                    <a:pt x="551" y="1968"/>
                  </a:lnTo>
                  <a:lnTo>
                    <a:pt x="551" y="1968"/>
                  </a:lnTo>
                  <a:lnTo>
                    <a:pt x="500" y="1944"/>
                  </a:lnTo>
                  <a:lnTo>
                    <a:pt x="500" y="1944"/>
                  </a:lnTo>
                  <a:lnTo>
                    <a:pt x="496" y="1941"/>
                  </a:lnTo>
                  <a:lnTo>
                    <a:pt x="492" y="1937"/>
                  </a:lnTo>
                  <a:lnTo>
                    <a:pt x="490" y="1932"/>
                  </a:lnTo>
                  <a:lnTo>
                    <a:pt x="490" y="1926"/>
                  </a:lnTo>
                  <a:lnTo>
                    <a:pt x="490" y="1926"/>
                  </a:lnTo>
                  <a:lnTo>
                    <a:pt x="491" y="1918"/>
                  </a:lnTo>
                  <a:lnTo>
                    <a:pt x="495" y="1897"/>
                  </a:lnTo>
                  <a:lnTo>
                    <a:pt x="495" y="1897"/>
                  </a:lnTo>
                  <a:lnTo>
                    <a:pt x="500" y="1869"/>
                  </a:lnTo>
                  <a:lnTo>
                    <a:pt x="500" y="1869"/>
                  </a:lnTo>
                  <a:lnTo>
                    <a:pt x="502" y="1864"/>
                  </a:lnTo>
                  <a:lnTo>
                    <a:pt x="505" y="1860"/>
                  </a:lnTo>
                  <a:lnTo>
                    <a:pt x="509" y="1857"/>
                  </a:lnTo>
                  <a:lnTo>
                    <a:pt x="514" y="1854"/>
                  </a:lnTo>
                  <a:lnTo>
                    <a:pt x="514" y="1854"/>
                  </a:lnTo>
                  <a:lnTo>
                    <a:pt x="570" y="1847"/>
                  </a:lnTo>
                  <a:lnTo>
                    <a:pt x="570" y="1847"/>
                  </a:lnTo>
                  <a:lnTo>
                    <a:pt x="625" y="1842"/>
                  </a:lnTo>
                  <a:lnTo>
                    <a:pt x="625" y="1842"/>
                  </a:lnTo>
                  <a:lnTo>
                    <a:pt x="630" y="1841"/>
                  </a:lnTo>
                  <a:lnTo>
                    <a:pt x="635" y="1838"/>
                  </a:lnTo>
                  <a:lnTo>
                    <a:pt x="639" y="1834"/>
                  </a:lnTo>
                  <a:lnTo>
                    <a:pt x="641" y="1830"/>
                  </a:lnTo>
                  <a:lnTo>
                    <a:pt x="641" y="1830"/>
                  </a:lnTo>
                  <a:lnTo>
                    <a:pt x="648" y="1798"/>
                  </a:lnTo>
                  <a:lnTo>
                    <a:pt x="648" y="1798"/>
                  </a:lnTo>
                  <a:lnTo>
                    <a:pt x="653" y="1776"/>
                  </a:lnTo>
                  <a:lnTo>
                    <a:pt x="653" y="1776"/>
                  </a:lnTo>
                  <a:lnTo>
                    <a:pt x="655" y="1767"/>
                  </a:lnTo>
                  <a:lnTo>
                    <a:pt x="655" y="1767"/>
                  </a:lnTo>
                  <a:lnTo>
                    <a:pt x="656" y="1762"/>
                  </a:lnTo>
                  <a:lnTo>
                    <a:pt x="654" y="1756"/>
                  </a:lnTo>
                  <a:lnTo>
                    <a:pt x="652" y="1752"/>
                  </a:lnTo>
                  <a:lnTo>
                    <a:pt x="648" y="1748"/>
                  </a:lnTo>
                  <a:lnTo>
                    <a:pt x="648" y="1748"/>
                  </a:lnTo>
                  <a:lnTo>
                    <a:pt x="601" y="1719"/>
                  </a:lnTo>
                  <a:lnTo>
                    <a:pt x="601" y="1719"/>
                  </a:lnTo>
                  <a:lnTo>
                    <a:pt x="554" y="1688"/>
                  </a:lnTo>
                  <a:lnTo>
                    <a:pt x="554" y="1688"/>
                  </a:lnTo>
                  <a:lnTo>
                    <a:pt x="550" y="1684"/>
                  </a:lnTo>
                  <a:lnTo>
                    <a:pt x="548" y="1679"/>
                  </a:lnTo>
                  <a:lnTo>
                    <a:pt x="547" y="1674"/>
                  </a:lnTo>
                  <a:lnTo>
                    <a:pt x="547" y="1669"/>
                  </a:lnTo>
                  <a:lnTo>
                    <a:pt x="547" y="1669"/>
                  </a:lnTo>
                  <a:lnTo>
                    <a:pt x="550" y="1659"/>
                  </a:lnTo>
                  <a:lnTo>
                    <a:pt x="550" y="1659"/>
                  </a:lnTo>
                  <a:lnTo>
                    <a:pt x="552" y="1651"/>
                  </a:lnTo>
                  <a:lnTo>
                    <a:pt x="552" y="1651"/>
                  </a:lnTo>
                  <a:lnTo>
                    <a:pt x="561" y="1627"/>
                  </a:lnTo>
                  <a:lnTo>
                    <a:pt x="565" y="1612"/>
                  </a:lnTo>
                  <a:lnTo>
                    <a:pt x="565" y="1612"/>
                  </a:lnTo>
                  <a:lnTo>
                    <a:pt x="568" y="1608"/>
                  </a:lnTo>
                  <a:lnTo>
                    <a:pt x="572" y="1604"/>
                  </a:lnTo>
                  <a:lnTo>
                    <a:pt x="576" y="1601"/>
                  </a:lnTo>
                  <a:lnTo>
                    <a:pt x="581" y="1601"/>
                  </a:lnTo>
                  <a:lnTo>
                    <a:pt x="581" y="1601"/>
                  </a:lnTo>
                  <a:lnTo>
                    <a:pt x="638" y="1603"/>
                  </a:lnTo>
                  <a:lnTo>
                    <a:pt x="638" y="1603"/>
                  </a:lnTo>
                  <a:lnTo>
                    <a:pt x="694" y="1606"/>
                  </a:lnTo>
                  <a:lnTo>
                    <a:pt x="694" y="1606"/>
                  </a:lnTo>
                  <a:lnTo>
                    <a:pt x="699" y="1606"/>
                  </a:lnTo>
                  <a:lnTo>
                    <a:pt x="704" y="1603"/>
                  </a:lnTo>
                  <a:lnTo>
                    <a:pt x="708" y="1600"/>
                  </a:lnTo>
                  <a:lnTo>
                    <a:pt x="710" y="1596"/>
                  </a:lnTo>
                  <a:lnTo>
                    <a:pt x="710" y="1596"/>
                  </a:lnTo>
                  <a:lnTo>
                    <a:pt x="722" y="1566"/>
                  </a:lnTo>
                  <a:lnTo>
                    <a:pt x="722" y="1566"/>
                  </a:lnTo>
                  <a:lnTo>
                    <a:pt x="732" y="1545"/>
                  </a:lnTo>
                  <a:lnTo>
                    <a:pt x="732" y="1545"/>
                  </a:lnTo>
                  <a:lnTo>
                    <a:pt x="736" y="1536"/>
                  </a:lnTo>
                  <a:lnTo>
                    <a:pt x="736" y="1536"/>
                  </a:lnTo>
                  <a:lnTo>
                    <a:pt x="737" y="1532"/>
                  </a:lnTo>
                  <a:lnTo>
                    <a:pt x="736" y="1527"/>
                  </a:lnTo>
                  <a:lnTo>
                    <a:pt x="734" y="1521"/>
                  </a:lnTo>
                  <a:lnTo>
                    <a:pt x="731" y="1517"/>
                  </a:lnTo>
                  <a:lnTo>
                    <a:pt x="731" y="1517"/>
                  </a:lnTo>
                  <a:lnTo>
                    <a:pt x="689" y="1481"/>
                  </a:lnTo>
                  <a:lnTo>
                    <a:pt x="689" y="1481"/>
                  </a:lnTo>
                  <a:lnTo>
                    <a:pt x="648" y="1442"/>
                  </a:lnTo>
                  <a:lnTo>
                    <a:pt x="648" y="1442"/>
                  </a:lnTo>
                  <a:lnTo>
                    <a:pt x="644" y="1438"/>
                  </a:lnTo>
                  <a:lnTo>
                    <a:pt x="643" y="1433"/>
                  </a:lnTo>
                  <a:lnTo>
                    <a:pt x="643" y="1427"/>
                  </a:lnTo>
                  <a:lnTo>
                    <a:pt x="644" y="1421"/>
                  </a:lnTo>
                  <a:lnTo>
                    <a:pt x="670" y="1370"/>
                  </a:lnTo>
                  <a:lnTo>
                    <a:pt x="670" y="1370"/>
                  </a:lnTo>
                  <a:lnTo>
                    <a:pt x="673" y="1365"/>
                  </a:lnTo>
                  <a:lnTo>
                    <a:pt x="678" y="1362"/>
                  </a:lnTo>
                  <a:lnTo>
                    <a:pt x="684" y="1361"/>
                  </a:lnTo>
                  <a:lnTo>
                    <a:pt x="689" y="1361"/>
                  </a:lnTo>
                  <a:lnTo>
                    <a:pt x="689" y="1361"/>
                  </a:lnTo>
                  <a:lnTo>
                    <a:pt x="744" y="1372"/>
                  </a:lnTo>
                  <a:lnTo>
                    <a:pt x="744" y="1372"/>
                  </a:lnTo>
                  <a:lnTo>
                    <a:pt x="799" y="1383"/>
                  </a:lnTo>
                  <a:lnTo>
                    <a:pt x="799" y="1383"/>
                  </a:lnTo>
                  <a:lnTo>
                    <a:pt x="804" y="1384"/>
                  </a:lnTo>
                  <a:lnTo>
                    <a:pt x="809" y="1382"/>
                  </a:lnTo>
                  <a:lnTo>
                    <a:pt x="813" y="1380"/>
                  </a:lnTo>
                  <a:lnTo>
                    <a:pt x="816" y="1376"/>
                  </a:lnTo>
                  <a:lnTo>
                    <a:pt x="816" y="1376"/>
                  </a:lnTo>
                  <a:lnTo>
                    <a:pt x="821" y="1368"/>
                  </a:lnTo>
                  <a:lnTo>
                    <a:pt x="833" y="1349"/>
                  </a:lnTo>
                  <a:lnTo>
                    <a:pt x="833" y="1349"/>
                  </a:lnTo>
                  <a:lnTo>
                    <a:pt x="851" y="1321"/>
                  </a:lnTo>
                  <a:lnTo>
                    <a:pt x="851" y="1321"/>
                  </a:lnTo>
                  <a:lnTo>
                    <a:pt x="852" y="1317"/>
                  </a:lnTo>
                  <a:lnTo>
                    <a:pt x="853" y="1311"/>
                  </a:lnTo>
                  <a:lnTo>
                    <a:pt x="852" y="1306"/>
                  </a:lnTo>
                  <a:lnTo>
                    <a:pt x="849" y="1302"/>
                  </a:lnTo>
                  <a:lnTo>
                    <a:pt x="849" y="1302"/>
                  </a:lnTo>
                  <a:lnTo>
                    <a:pt x="813" y="1258"/>
                  </a:lnTo>
                  <a:lnTo>
                    <a:pt x="813" y="1258"/>
                  </a:lnTo>
                  <a:lnTo>
                    <a:pt x="779" y="1214"/>
                  </a:lnTo>
                  <a:lnTo>
                    <a:pt x="779" y="1214"/>
                  </a:lnTo>
                  <a:lnTo>
                    <a:pt x="777" y="1210"/>
                  </a:lnTo>
                  <a:lnTo>
                    <a:pt x="776" y="1205"/>
                  </a:lnTo>
                  <a:lnTo>
                    <a:pt x="777" y="1199"/>
                  </a:lnTo>
                  <a:lnTo>
                    <a:pt x="779" y="1194"/>
                  </a:lnTo>
                  <a:lnTo>
                    <a:pt x="789" y="1179"/>
                  </a:lnTo>
                  <a:lnTo>
                    <a:pt x="789" y="1179"/>
                  </a:lnTo>
                  <a:lnTo>
                    <a:pt x="803" y="1159"/>
                  </a:lnTo>
                  <a:lnTo>
                    <a:pt x="803" y="1159"/>
                  </a:lnTo>
                  <a:lnTo>
                    <a:pt x="808" y="1153"/>
                  </a:lnTo>
                  <a:lnTo>
                    <a:pt x="808" y="1153"/>
                  </a:lnTo>
                  <a:lnTo>
                    <a:pt x="812" y="1146"/>
                  </a:lnTo>
                  <a:lnTo>
                    <a:pt x="812" y="1146"/>
                  </a:lnTo>
                  <a:lnTo>
                    <a:pt x="816" y="1143"/>
                  </a:lnTo>
                  <a:lnTo>
                    <a:pt x="821" y="1140"/>
                  </a:lnTo>
                  <a:lnTo>
                    <a:pt x="827" y="1139"/>
                  </a:lnTo>
                  <a:lnTo>
                    <a:pt x="832" y="1140"/>
                  </a:lnTo>
                  <a:lnTo>
                    <a:pt x="832" y="1140"/>
                  </a:lnTo>
                  <a:lnTo>
                    <a:pt x="885" y="1160"/>
                  </a:lnTo>
                  <a:lnTo>
                    <a:pt x="885" y="1160"/>
                  </a:lnTo>
                  <a:lnTo>
                    <a:pt x="937" y="1180"/>
                  </a:lnTo>
                  <a:lnTo>
                    <a:pt x="937" y="1180"/>
                  </a:lnTo>
                  <a:lnTo>
                    <a:pt x="942" y="1181"/>
                  </a:lnTo>
                  <a:lnTo>
                    <a:pt x="947" y="1181"/>
                  </a:lnTo>
                  <a:lnTo>
                    <a:pt x="952" y="1179"/>
                  </a:lnTo>
                  <a:lnTo>
                    <a:pt x="955" y="1176"/>
                  </a:lnTo>
                  <a:lnTo>
                    <a:pt x="955" y="1176"/>
                  </a:lnTo>
                  <a:lnTo>
                    <a:pt x="962" y="1168"/>
                  </a:lnTo>
                  <a:lnTo>
                    <a:pt x="962" y="1168"/>
                  </a:lnTo>
                  <a:lnTo>
                    <a:pt x="977" y="1152"/>
                  </a:lnTo>
                  <a:lnTo>
                    <a:pt x="977" y="1152"/>
                  </a:lnTo>
                  <a:lnTo>
                    <a:pt x="998" y="1127"/>
                  </a:lnTo>
                  <a:lnTo>
                    <a:pt x="998" y="1127"/>
                  </a:lnTo>
                  <a:lnTo>
                    <a:pt x="1000" y="1122"/>
                  </a:lnTo>
                  <a:lnTo>
                    <a:pt x="1001" y="1117"/>
                  </a:lnTo>
                  <a:lnTo>
                    <a:pt x="1001" y="1112"/>
                  </a:lnTo>
                  <a:lnTo>
                    <a:pt x="999" y="1107"/>
                  </a:lnTo>
                  <a:lnTo>
                    <a:pt x="999" y="1107"/>
                  </a:lnTo>
                  <a:lnTo>
                    <a:pt x="971" y="1059"/>
                  </a:lnTo>
                  <a:lnTo>
                    <a:pt x="971" y="1059"/>
                  </a:lnTo>
                  <a:lnTo>
                    <a:pt x="944" y="1011"/>
                  </a:lnTo>
                  <a:lnTo>
                    <a:pt x="944" y="1011"/>
                  </a:lnTo>
                  <a:lnTo>
                    <a:pt x="942" y="1005"/>
                  </a:lnTo>
                  <a:lnTo>
                    <a:pt x="942" y="999"/>
                  </a:lnTo>
                  <a:lnTo>
                    <a:pt x="944" y="994"/>
                  </a:lnTo>
                  <a:lnTo>
                    <a:pt x="946" y="990"/>
                  </a:lnTo>
                  <a:lnTo>
                    <a:pt x="946" y="990"/>
                  </a:lnTo>
                  <a:lnTo>
                    <a:pt x="967" y="969"/>
                  </a:lnTo>
                  <a:lnTo>
                    <a:pt x="967" y="969"/>
                  </a:lnTo>
                  <a:lnTo>
                    <a:pt x="988" y="948"/>
                  </a:lnTo>
                  <a:lnTo>
                    <a:pt x="988" y="948"/>
                  </a:lnTo>
                  <a:lnTo>
                    <a:pt x="992" y="945"/>
                  </a:lnTo>
                  <a:lnTo>
                    <a:pt x="997" y="944"/>
                  </a:lnTo>
                  <a:lnTo>
                    <a:pt x="1003" y="944"/>
                  </a:lnTo>
                  <a:lnTo>
                    <a:pt x="1008" y="945"/>
                  </a:lnTo>
                  <a:lnTo>
                    <a:pt x="1008" y="945"/>
                  </a:lnTo>
                  <a:lnTo>
                    <a:pt x="1058" y="973"/>
                  </a:lnTo>
                  <a:lnTo>
                    <a:pt x="1058" y="973"/>
                  </a:lnTo>
                  <a:lnTo>
                    <a:pt x="1106" y="1001"/>
                  </a:lnTo>
                  <a:lnTo>
                    <a:pt x="1106" y="1001"/>
                  </a:lnTo>
                  <a:lnTo>
                    <a:pt x="1110" y="1003"/>
                  </a:lnTo>
                  <a:lnTo>
                    <a:pt x="1116" y="1003"/>
                  </a:lnTo>
                  <a:lnTo>
                    <a:pt x="1121" y="1002"/>
                  </a:lnTo>
                  <a:lnTo>
                    <a:pt x="1125" y="999"/>
                  </a:lnTo>
                  <a:lnTo>
                    <a:pt x="1125" y="999"/>
                  </a:lnTo>
                  <a:lnTo>
                    <a:pt x="1149" y="979"/>
                  </a:lnTo>
                  <a:lnTo>
                    <a:pt x="1149" y="979"/>
                  </a:lnTo>
                  <a:lnTo>
                    <a:pt x="1174" y="957"/>
                  </a:lnTo>
                  <a:lnTo>
                    <a:pt x="1174" y="957"/>
                  </a:lnTo>
                  <a:lnTo>
                    <a:pt x="1177" y="953"/>
                  </a:lnTo>
                  <a:lnTo>
                    <a:pt x="1179" y="949"/>
                  </a:lnTo>
                  <a:lnTo>
                    <a:pt x="1180" y="944"/>
                  </a:lnTo>
                  <a:lnTo>
                    <a:pt x="1179" y="939"/>
                  </a:lnTo>
                  <a:lnTo>
                    <a:pt x="1179" y="939"/>
                  </a:lnTo>
                  <a:lnTo>
                    <a:pt x="1158" y="887"/>
                  </a:lnTo>
                  <a:lnTo>
                    <a:pt x="1158" y="887"/>
                  </a:lnTo>
                  <a:lnTo>
                    <a:pt x="1138" y="834"/>
                  </a:lnTo>
                  <a:lnTo>
                    <a:pt x="1138" y="834"/>
                  </a:lnTo>
                  <a:lnTo>
                    <a:pt x="1137" y="829"/>
                  </a:lnTo>
                  <a:lnTo>
                    <a:pt x="1138" y="824"/>
                  </a:lnTo>
                  <a:lnTo>
                    <a:pt x="1140" y="818"/>
                  </a:lnTo>
                  <a:lnTo>
                    <a:pt x="1144" y="814"/>
                  </a:lnTo>
                  <a:lnTo>
                    <a:pt x="1144" y="814"/>
                  </a:lnTo>
                  <a:lnTo>
                    <a:pt x="1152" y="808"/>
                  </a:lnTo>
                  <a:lnTo>
                    <a:pt x="1152" y="808"/>
                  </a:lnTo>
                  <a:lnTo>
                    <a:pt x="1159" y="803"/>
                  </a:lnTo>
                  <a:lnTo>
                    <a:pt x="1159" y="803"/>
                  </a:lnTo>
                  <a:lnTo>
                    <a:pt x="1179" y="789"/>
                  </a:lnTo>
                  <a:lnTo>
                    <a:pt x="1191" y="780"/>
                  </a:lnTo>
                  <a:lnTo>
                    <a:pt x="1191" y="780"/>
                  </a:lnTo>
                  <a:lnTo>
                    <a:pt x="1196" y="778"/>
                  </a:lnTo>
                  <a:lnTo>
                    <a:pt x="1202" y="777"/>
                  </a:lnTo>
                  <a:lnTo>
                    <a:pt x="1208" y="778"/>
                  </a:lnTo>
                  <a:lnTo>
                    <a:pt x="1212" y="780"/>
                  </a:lnTo>
                  <a:lnTo>
                    <a:pt x="1212" y="780"/>
                  </a:lnTo>
                  <a:lnTo>
                    <a:pt x="1256" y="814"/>
                  </a:lnTo>
                  <a:lnTo>
                    <a:pt x="1256" y="814"/>
                  </a:lnTo>
                  <a:lnTo>
                    <a:pt x="1300" y="850"/>
                  </a:lnTo>
                  <a:lnTo>
                    <a:pt x="1300" y="850"/>
                  </a:lnTo>
                  <a:lnTo>
                    <a:pt x="1304" y="853"/>
                  </a:lnTo>
                  <a:lnTo>
                    <a:pt x="1309" y="854"/>
                  </a:lnTo>
                  <a:lnTo>
                    <a:pt x="1314" y="854"/>
                  </a:lnTo>
                  <a:lnTo>
                    <a:pt x="1319" y="852"/>
                  </a:lnTo>
                  <a:lnTo>
                    <a:pt x="1319" y="852"/>
                  </a:lnTo>
                  <a:lnTo>
                    <a:pt x="1347" y="835"/>
                  </a:lnTo>
                  <a:lnTo>
                    <a:pt x="1347" y="835"/>
                  </a:lnTo>
                  <a:lnTo>
                    <a:pt x="1365" y="823"/>
                  </a:lnTo>
                  <a:lnTo>
                    <a:pt x="1374" y="818"/>
                  </a:lnTo>
                  <a:lnTo>
                    <a:pt x="1374" y="818"/>
                  </a:lnTo>
                  <a:lnTo>
                    <a:pt x="1378" y="814"/>
                  </a:lnTo>
                  <a:lnTo>
                    <a:pt x="1380" y="810"/>
                  </a:lnTo>
                  <a:lnTo>
                    <a:pt x="1382" y="805"/>
                  </a:lnTo>
                  <a:lnTo>
                    <a:pt x="1381" y="800"/>
                  </a:lnTo>
                  <a:lnTo>
                    <a:pt x="1381" y="800"/>
                  </a:lnTo>
                  <a:lnTo>
                    <a:pt x="1369" y="745"/>
                  </a:lnTo>
                  <a:lnTo>
                    <a:pt x="1369" y="745"/>
                  </a:lnTo>
                  <a:lnTo>
                    <a:pt x="1358" y="690"/>
                  </a:lnTo>
                  <a:lnTo>
                    <a:pt x="1358" y="690"/>
                  </a:lnTo>
                  <a:lnTo>
                    <a:pt x="1358" y="685"/>
                  </a:lnTo>
                  <a:lnTo>
                    <a:pt x="1360" y="679"/>
                  </a:lnTo>
                  <a:lnTo>
                    <a:pt x="1363" y="675"/>
                  </a:lnTo>
                  <a:lnTo>
                    <a:pt x="1367" y="671"/>
                  </a:lnTo>
                  <a:lnTo>
                    <a:pt x="1419" y="645"/>
                  </a:lnTo>
                  <a:lnTo>
                    <a:pt x="1419" y="645"/>
                  </a:lnTo>
                  <a:lnTo>
                    <a:pt x="1424" y="644"/>
                  </a:lnTo>
                  <a:lnTo>
                    <a:pt x="1430" y="644"/>
                  </a:lnTo>
                  <a:lnTo>
                    <a:pt x="1436" y="646"/>
                  </a:lnTo>
                  <a:lnTo>
                    <a:pt x="1440" y="649"/>
                  </a:lnTo>
                  <a:lnTo>
                    <a:pt x="1440" y="649"/>
                  </a:lnTo>
                  <a:lnTo>
                    <a:pt x="1477" y="690"/>
                  </a:lnTo>
                  <a:lnTo>
                    <a:pt x="1477" y="690"/>
                  </a:lnTo>
                  <a:lnTo>
                    <a:pt x="1515" y="732"/>
                  </a:lnTo>
                  <a:lnTo>
                    <a:pt x="1515" y="732"/>
                  </a:lnTo>
                  <a:lnTo>
                    <a:pt x="1519" y="735"/>
                  </a:lnTo>
                  <a:lnTo>
                    <a:pt x="1523" y="737"/>
                  </a:lnTo>
                  <a:lnTo>
                    <a:pt x="1529" y="738"/>
                  </a:lnTo>
                  <a:lnTo>
                    <a:pt x="1534" y="737"/>
                  </a:lnTo>
                  <a:lnTo>
                    <a:pt x="1534" y="737"/>
                  </a:lnTo>
                  <a:lnTo>
                    <a:pt x="1543" y="733"/>
                  </a:lnTo>
                  <a:lnTo>
                    <a:pt x="1543" y="733"/>
                  </a:lnTo>
                  <a:lnTo>
                    <a:pt x="1563" y="723"/>
                  </a:lnTo>
                  <a:lnTo>
                    <a:pt x="1563" y="723"/>
                  </a:lnTo>
                  <a:lnTo>
                    <a:pt x="1594" y="711"/>
                  </a:lnTo>
                  <a:lnTo>
                    <a:pt x="1594" y="711"/>
                  </a:lnTo>
                  <a:lnTo>
                    <a:pt x="1598" y="709"/>
                  </a:lnTo>
                  <a:lnTo>
                    <a:pt x="1601" y="705"/>
                  </a:lnTo>
                  <a:lnTo>
                    <a:pt x="1603" y="700"/>
                  </a:lnTo>
                  <a:lnTo>
                    <a:pt x="1604" y="695"/>
                  </a:lnTo>
                  <a:lnTo>
                    <a:pt x="1604" y="695"/>
                  </a:lnTo>
                  <a:lnTo>
                    <a:pt x="1600" y="639"/>
                  </a:lnTo>
                  <a:lnTo>
                    <a:pt x="1600" y="639"/>
                  </a:lnTo>
                  <a:lnTo>
                    <a:pt x="1598" y="582"/>
                  </a:lnTo>
                  <a:lnTo>
                    <a:pt x="1598" y="582"/>
                  </a:lnTo>
                  <a:lnTo>
                    <a:pt x="1599" y="577"/>
                  </a:lnTo>
                  <a:lnTo>
                    <a:pt x="1601" y="572"/>
                  </a:lnTo>
                  <a:lnTo>
                    <a:pt x="1605" y="569"/>
                  </a:lnTo>
                  <a:lnTo>
                    <a:pt x="1610" y="566"/>
                  </a:lnTo>
                  <a:lnTo>
                    <a:pt x="1627" y="561"/>
                  </a:lnTo>
                  <a:lnTo>
                    <a:pt x="1627" y="561"/>
                  </a:lnTo>
                  <a:lnTo>
                    <a:pt x="1651" y="552"/>
                  </a:lnTo>
                  <a:lnTo>
                    <a:pt x="1651" y="552"/>
                  </a:lnTo>
                  <a:lnTo>
                    <a:pt x="1658" y="550"/>
                  </a:lnTo>
                  <a:lnTo>
                    <a:pt x="1658" y="550"/>
                  </a:lnTo>
                  <a:lnTo>
                    <a:pt x="1665" y="548"/>
                  </a:lnTo>
                  <a:lnTo>
                    <a:pt x="1665" y="548"/>
                  </a:lnTo>
                  <a:lnTo>
                    <a:pt x="1671" y="548"/>
                  </a:lnTo>
                  <a:lnTo>
                    <a:pt x="1677" y="549"/>
                  </a:lnTo>
                  <a:lnTo>
                    <a:pt x="1681" y="551"/>
                  </a:lnTo>
                  <a:lnTo>
                    <a:pt x="1685" y="555"/>
                  </a:lnTo>
                  <a:lnTo>
                    <a:pt x="1685" y="555"/>
                  </a:lnTo>
                  <a:lnTo>
                    <a:pt x="1716" y="602"/>
                  </a:lnTo>
                  <a:lnTo>
                    <a:pt x="1716" y="602"/>
                  </a:lnTo>
                  <a:lnTo>
                    <a:pt x="1746" y="649"/>
                  </a:lnTo>
                  <a:lnTo>
                    <a:pt x="1746" y="649"/>
                  </a:lnTo>
                  <a:lnTo>
                    <a:pt x="1749" y="652"/>
                  </a:lnTo>
                  <a:lnTo>
                    <a:pt x="1754" y="655"/>
                  </a:lnTo>
                  <a:lnTo>
                    <a:pt x="1759" y="656"/>
                  </a:lnTo>
                  <a:lnTo>
                    <a:pt x="1765" y="656"/>
                  </a:lnTo>
                  <a:lnTo>
                    <a:pt x="1765" y="656"/>
                  </a:lnTo>
                  <a:lnTo>
                    <a:pt x="1774" y="653"/>
                  </a:lnTo>
                  <a:lnTo>
                    <a:pt x="1774" y="653"/>
                  </a:lnTo>
                  <a:lnTo>
                    <a:pt x="1795" y="648"/>
                  </a:lnTo>
                  <a:lnTo>
                    <a:pt x="1795" y="648"/>
                  </a:lnTo>
                  <a:lnTo>
                    <a:pt x="1827" y="641"/>
                  </a:lnTo>
                  <a:lnTo>
                    <a:pt x="1827" y="641"/>
                  </a:lnTo>
                  <a:lnTo>
                    <a:pt x="1832" y="639"/>
                  </a:lnTo>
                  <a:lnTo>
                    <a:pt x="1836" y="636"/>
                  </a:lnTo>
                  <a:lnTo>
                    <a:pt x="1838" y="630"/>
                  </a:lnTo>
                  <a:lnTo>
                    <a:pt x="1840" y="625"/>
                  </a:lnTo>
                  <a:lnTo>
                    <a:pt x="1840" y="625"/>
                  </a:lnTo>
                  <a:lnTo>
                    <a:pt x="1845" y="570"/>
                  </a:lnTo>
                  <a:lnTo>
                    <a:pt x="1845" y="570"/>
                  </a:lnTo>
                  <a:lnTo>
                    <a:pt x="1851" y="515"/>
                  </a:lnTo>
                  <a:lnTo>
                    <a:pt x="1851" y="515"/>
                  </a:lnTo>
                  <a:lnTo>
                    <a:pt x="1853" y="510"/>
                  </a:lnTo>
                  <a:lnTo>
                    <a:pt x="1857" y="505"/>
                  </a:lnTo>
                  <a:lnTo>
                    <a:pt x="1861" y="502"/>
                  </a:lnTo>
                  <a:lnTo>
                    <a:pt x="1866" y="500"/>
                  </a:lnTo>
                  <a:lnTo>
                    <a:pt x="1866" y="500"/>
                  </a:lnTo>
                  <a:lnTo>
                    <a:pt x="1895" y="495"/>
                  </a:lnTo>
                  <a:lnTo>
                    <a:pt x="1895" y="495"/>
                  </a:lnTo>
                  <a:lnTo>
                    <a:pt x="1915" y="491"/>
                  </a:lnTo>
                  <a:lnTo>
                    <a:pt x="1924" y="490"/>
                  </a:lnTo>
                  <a:lnTo>
                    <a:pt x="1924" y="490"/>
                  </a:lnTo>
                  <a:lnTo>
                    <a:pt x="1929" y="490"/>
                  </a:lnTo>
                  <a:lnTo>
                    <a:pt x="1934" y="492"/>
                  </a:lnTo>
                  <a:lnTo>
                    <a:pt x="1939" y="496"/>
                  </a:lnTo>
                  <a:lnTo>
                    <a:pt x="1942" y="501"/>
                  </a:lnTo>
                  <a:lnTo>
                    <a:pt x="1942" y="501"/>
                  </a:lnTo>
                  <a:lnTo>
                    <a:pt x="1965" y="552"/>
                  </a:lnTo>
                  <a:lnTo>
                    <a:pt x="1965" y="552"/>
                  </a:lnTo>
                  <a:lnTo>
                    <a:pt x="1987" y="603"/>
                  </a:lnTo>
                  <a:lnTo>
                    <a:pt x="1987" y="603"/>
                  </a:lnTo>
                  <a:lnTo>
                    <a:pt x="1990" y="607"/>
                  </a:lnTo>
                  <a:lnTo>
                    <a:pt x="1994" y="610"/>
                  </a:lnTo>
                  <a:lnTo>
                    <a:pt x="2000" y="612"/>
                  </a:lnTo>
                  <a:lnTo>
                    <a:pt x="2005" y="612"/>
                  </a:lnTo>
                  <a:lnTo>
                    <a:pt x="2069" y="608"/>
                  </a:lnTo>
                  <a:lnTo>
                    <a:pt x="2069" y="608"/>
                  </a:lnTo>
                  <a:lnTo>
                    <a:pt x="2074" y="606"/>
                  </a:lnTo>
                  <a:lnTo>
                    <a:pt x="2078" y="604"/>
                  </a:lnTo>
                  <a:lnTo>
                    <a:pt x="2081" y="600"/>
                  </a:lnTo>
                  <a:lnTo>
                    <a:pt x="2083" y="595"/>
                  </a:lnTo>
                  <a:lnTo>
                    <a:pt x="2083" y="595"/>
                  </a:lnTo>
                  <a:lnTo>
                    <a:pt x="2098" y="541"/>
                  </a:lnTo>
                  <a:lnTo>
                    <a:pt x="2098" y="541"/>
                  </a:lnTo>
                  <a:lnTo>
                    <a:pt x="2113" y="487"/>
                  </a:lnTo>
                  <a:lnTo>
                    <a:pt x="2113" y="487"/>
                  </a:lnTo>
                  <a:lnTo>
                    <a:pt x="2115" y="482"/>
                  </a:lnTo>
                  <a:lnTo>
                    <a:pt x="2119" y="478"/>
                  </a:lnTo>
                  <a:lnTo>
                    <a:pt x="2124" y="476"/>
                  </a:lnTo>
                  <a:lnTo>
                    <a:pt x="2129" y="475"/>
                  </a:lnTo>
                  <a:lnTo>
                    <a:pt x="2147" y="474"/>
                  </a:lnTo>
                  <a:lnTo>
                    <a:pt x="2147" y="474"/>
                  </a:lnTo>
                  <a:lnTo>
                    <a:pt x="2173" y="474"/>
                  </a:lnTo>
                  <a:lnTo>
                    <a:pt x="2188" y="474"/>
                  </a:lnTo>
                  <a:lnTo>
                    <a:pt x="2188" y="474"/>
                  </a:lnTo>
                  <a:lnTo>
                    <a:pt x="2193" y="475"/>
                  </a:lnTo>
                  <a:lnTo>
                    <a:pt x="2198" y="478"/>
                  </a:lnTo>
                  <a:lnTo>
                    <a:pt x="2202" y="482"/>
                  </a:lnTo>
                  <a:lnTo>
                    <a:pt x="2204" y="486"/>
                  </a:lnTo>
                  <a:lnTo>
                    <a:pt x="2204" y="486"/>
                  </a:lnTo>
                  <a:lnTo>
                    <a:pt x="2219" y="541"/>
                  </a:lnTo>
                  <a:lnTo>
                    <a:pt x="2219" y="541"/>
                  </a:lnTo>
                  <a:lnTo>
                    <a:pt x="2234" y="595"/>
                  </a:lnTo>
                  <a:lnTo>
                    <a:pt x="2234" y="595"/>
                  </a:lnTo>
                  <a:lnTo>
                    <a:pt x="2236" y="600"/>
                  </a:lnTo>
                  <a:lnTo>
                    <a:pt x="2240" y="603"/>
                  </a:lnTo>
                  <a:lnTo>
                    <a:pt x="2244" y="606"/>
                  </a:lnTo>
                  <a:lnTo>
                    <a:pt x="2249" y="607"/>
                  </a:lnTo>
                  <a:lnTo>
                    <a:pt x="2313" y="612"/>
                  </a:lnTo>
                  <a:lnTo>
                    <a:pt x="2313" y="612"/>
                  </a:lnTo>
                  <a:lnTo>
                    <a:pt x="2318" y="612"/>
                  </a:lnTo>
                  <a:lnTo>
                    <a:pt x="2322" y="610"/>
                  </a:lnTo>
                  <a:lnTo>
                    <a:pt x="2327" y="607"/>
                  </a:lnTo>
                  <a:lnTo>
                    <a:pt x="2330" y="602"/>
                  </a:lnTo>
                  <a:lnTo>
                    <a:pt x="2330" y="602"/>
                  </a:lnTo>
                  <a:lnTo>
                    <a:pt x="2352" y="551"/>
                  </a:lnTo>
                  <a:lnTo>
                    <a:pt x="2352" y="551"/>
                  </a:lnTo>
                  <a:lnTo>
                    <a:pt x="2376" y="500"/>
                  </a:lnTo>
                  <a:lnTo>
                    <a:pt x="2376" y="500"/>
                  </a:lnTo>
                  <a:lnTo>
                    <a:pt x="2379" y="496"/>
                  </a:lnTo>
                  <a:lnTo>
                    <a:pt x="2383" y="492"/>
                  </a:lnTo>
                  <a:lnTo>
                    <a:pt x="2388" y="490"/>
                  </a:lnTo>
                  <a:lnTo>
                    <a:pt x="2393" y="490"/>
                  </a:lnTo>
                  <a:lnTo>
                    <a:pt x="2393" y="490"/>
                  </a:lnTo>
                  <a:lnTo>
                    <a:pt x="2402" y="491"/>
                  </a:lnTo>
                  <a:lnTo>
                    <a:pt x="2423" y="495"/>
                  </a:lnTo>
                  <a:lnTo>
                    <a:pt x="2423" y="495"/>
                  </a:lnTo>
                  <a:lnTo>
                    <a:pt x="2451" y="500"/>
                  </a:lnTo>
                  <a:lnTo>
                    <a:pt x="2451" y="500"/>
                  </a:lnTo>
                  <a:lnTo>
                    <a:pt x="2456" y="502"/>
                  </a:lnTo>
                  <a:lnTo>
                    <a:pt x="2460" y="505"/>
                  </a:lnTo>
                  <a:lnTo>
                    <a:pt x="2463" y="509"/>
                  </a:lnTo>
                  <a:lnTo>
                    <a:pt x="2466" y="514"/>
                  </a:lnTo>
                  <a:lnTo>
                    <a:pt x="2466" y="514"/>
                  </a:lnTo>
                  <a:lnTo>
                    <a:pt x="2472" y="570"/>
                  </a:lnTo>
                  <a:lnTo>
                    <a:pt x="2472" y="570"/>
                  </a:lnTo>
                  <a:lnTo>
                    <a:pt x="2478" y="625"/>
                  </a:lnTo>
                  <a:lnTo>
                    <a:pt x="2478" y="625"/>
                  </a:lnTo>
                  <a:lnTo>
                    <a:pt x="2479" y="630"/>
                  </a:lnTo>
                  <a:lnTo>
                    <a:pt x="2482" y="635"/>
                  </a:lnTo>
                  <a:lnTo>
                    <a:pt x="2486" y="639"/>
                  </a:lnTo>
                  <a:lnTo>
                    <a:pt x="2490" y="641"/>
                  </a:lnTo>
                  <a:lnTo>
                    <a:pt x="2490" y="641"/>
                  </a:lnTo>
                  <a:lnTo>
                    <a:pt x="2522" y="648"/>
                  </a:lnTo>
                  <a:lnTo>
                    <a:pt x="2522" y="648"/>
                  </a:lnTo>
                  <a:lnTo>
                    <a:pt x="2543" y="653"/>
                  </a:lnTo>
                  <a:lnTo>
                    <a:pt x="2543" y="653"/>
                  </a:lnTo>
                  <a:lnTo>
                    <a:pt x="2553" y="655"/>
                  </a:lnTo>
                  <a:lnTo>
                    <a:pt x="2553" y="655"/>
                  </a:lnTo>
                  <a:lnTo>
                    <a:pt x="2558" y="655"/>
                  </a:lnTo>
                  <a:lnTo>
                    <a:pt x="2564" y="654"/>
                  </a:lnTo>
                  <a:lnTo>
                    <a:pt x="2568" y="652"/>
                  </a:lnTo>
                  <a:lnTo>
                    <a:pt x="2572" y="648"/>
                  </a:lnTo>
                  <a:lnTo>
                    <a:pt x="2572" y="648"/>
                  </a:lnTo>
                  <a:lnTo>
                    <a:pt x="2601" y="601"/>
                  </a:lnTo>
                  <a:lnTo>
                    <a:pt x="2601" y="601"/>
                  </a:lnTo>
                  <a:lnTo>
                    <a:pt x="2632" y="554"/>
                  </a:lnTo>
                  <a:lnTo>
                    <a:pt x="2632" y="554"/>
                  </a:lnTo>
                  <a:lnTo>
                    <a:pt x="2636" y="550"/>
                  </a:lnTo>
                  <a:lnTo>
                    <a:pt x="2641" y="548"/>
                  </a:lnTo>
                  <a:lnTo>
                    <a:pt x="2646" y="547"/>
                  </a:lnTo>
                  <a:lnTo>
                    <a:pt x="2651" y="547"/>
                  </a:lnTo>
                  <a:lnTo>
                    <a:pt x="2651" y="547"/>
                  </a:lnTo>
                  <a:lnTo>
                    <a:pt x="2661" y="550"/>
                  </a:lnTo>
                  <a:lnTo>
                    <a:pt x="2661" y="550"/>
                  </a:lnTo>
                  <a:lnTo>
                    <a:pt x="2669" y="552"/>
                  </a:lnTo>
                  <a:lnTo>
                    <a:pt x="2669" y="552"/>
                  </a:lnTo>
                  <a:lnTo>
                    <a:pt x="2693" y="561"/>
                  </a:lnTo>
                  <a:lnTo>
                    <a:pt x="2708" y="565"/>
                  </a:lnTo>
                  <a:lnTo>
                    <a:pt x="2708" y="565"/>
                  </a:lnTo>
                  <a:lnTo>
                    <a:pt x="2712" y="568"/>
                  </a:lnTo>
                  <a:lnTo>
                    <a:pt x="2716" y="572"/>
                  </a:lnTo>
                  <a:lnTo>
                    <a:pt x="2719" y="576"/>
                  </a:lnTo>
                  <a:lnTo>
                    <a:pt x="2719" y="581"/>
                  </a:lnTo>
                  <a:lnTo>
                    <a:pt x="2719" y="581"/>
                  </a:lnTo>
                  <a:lnTo>
                    <a:pt x="2717" y="638"/>
                  </a:lnTo>
                  <a:lnTo>
                    <a:pt x="2717" y="638"/>
                  </a:lnTo>
                  <a:lnTo>
                    <a:pt x="2714" y="694"/>
                  </a:lnTo>
                  <a:lnTo>
                    <a:pt x="2714" y="694"/>
                  </a:lnTo>
                  <a:lnTo>
                    <a:pt x="2714" y="699"/>
                  </a:lnTo>
                  <a:lnTo>
                    <a:pt x="2716" y="704"/>
                  </a:lnTo>
                  <a:lnTo>
                    <a:pt x="2720" y="708"/>
                  </a:lnTo>
                  <a:lnTo>
                    <a:pt x="2724" y="710"/>
                  </a:lnTo>
                  <a:lnTo>
                    <a:pt x="2724" y="710"/>
                  </a:lnTo>
                  <a:lnTo>
                    <a:pt x="2754" y="722"/>
                  </a:lnTo>
                  <a:lnTo>
                    <a:pt x="2754" y="722"/>
                  </a:lnTo>
                  <a:lnTo>
                    <a:pt x="2774" y="732"/>
                  </a:lnTo>
                  <a:lnTo>
                    <a:pt x="2774" y="732"/>
                  </a:lnTo>
                  <a:lnTo>
                    <a:pt x="2783" y="736"/>
                  </a:lnTo>
                  <a:lnTo>
                    <a:pt x="2783" y="736"/>
                  </a:lnTo>
                  <a:lnTo>
                    <a:pt x="2788" y="737"/>
                  </a:lnTo>
                  <a:lnTo>
                    <a:pt x="2793" y="736"/>
                  </a:lnTo>
                  <a:lnTo>
                    <a:pt x="2799" y="734"/>
                  </a:lnTo>
                  <a:lnTo>
                    <a:pt x="2803" y="731"/>
                  </a:lnTo>
                  <a:lnTo>
                    <a:pt x="2803" y="731"/>
                  </a:lnTo>
                  <a:lnTo>
                    <a:pt x="2839" y="689"/>
                  </a:lnTo>
                  <a:lnTo>
                    <a:pt x="2839" y="689"/>
                  </a:lnTo>
                  <a:lnTo>
                    <a:pt x="2878" y="647"/>
                  </a:lnTo>
                  <a:lnTo>
                    <a:pt x="2878" y="647"/>
                  </a:lnTo>
                  <a:lnTo>
                    <a:pt x="2882" y="644"/>
                  </a:lnTo>
                  <a:lnTo>
                    <a:pt x="2887" y="643"/>
                  </a:lnTo>
                  <a:lnTo>
                    <a:pt x="2893" y="643"/>
                  </a:lnTo>
                  <a:lnTo>
                    <a:pt x="2898" y="644"/>
                  </a:lnTo>
                  <a:lnTo>
                    <a:pt x="2950" y="670"/>
                  </a:lnTo>
                  <a:lnTo>
                    <a:pt x="2950" y="670"/>
                  </a:lnTo>
                  <a:lnTo>
                    <a:pt x="2955" y="673"/>
                  </a:lnTo>
                  <a:lnTo>
                    <a:pt x="2958" y="678"/>
                  </a:lnTo>
                  <a:lnTo>
                    <a:pt x="2959" y="684"/>
                  </a:lnTo>
                  <a:lnTo>
                    <a:pt x="2959" y="689"/>
                  </a:lnTo>
                  <a:lnTo>
                    <a:pt x="2959" y="689"/>
                  </a:lnTo>
                  <a:lnTo>
                    <a:pt x="2948" y="744"/>
                  </a:lnTo>
                  <a:lnTo>
                    <a:pt x="2948" y="744"/>
                  </a:lnTo>
                  <a:lnTo>
                    <a:pt x="2936" y="799"/>
                  </a:lnTo>
                  <a:lnTo>
                    <a:pt x="2936" y="799"/>
                  </a:lnTo>
                  <a:lnTo>
                    <a:pt x="2936" y="804"/>
                  </a:lnTo>
                  <a:lnTo>
                    <a:pt x="2937" y="809"/>
                  </a:lnTo>
                  <a:lnTo>
                    <a:pt x="2940" y="813"/>
                  </a:lnTo>
                  <a:lnTo>
                    <a:pt x="2944" y="816"/>
                  </a:lnTo>
                  <a:lnTo>
                    <a:pt x="2944" y="816"/>
                  </a:lnTo>
                  <a:lnTo>
                    <a:pt x="2952" y="821"/>
                  </a:lnTo>
                  <a:lnTo>
                    <a:pt x="2971" y="833"/>
                  </a:lnTo>
                  <a:lnTo>
                    <a:pt x="2971" y="833"/>
                  </a:lnTo>
                  <a:lnTo>
                    <a:pt x="2999" y="851"/>
                  </a:lnTo>
                  <a:lnTo>
                    <a:pt x="2999" y="851"/>
                  </a:lnTo>
                  <a:lnTo>
                    <a:pt x="3003" y="852"/>
                  </a:lnTo>
                  <a:lnTo>
                    <a:pt x="3008" y="853"/>
                  </a:lnTo>
                  <a:lnTo>
                    <a:pt x="3014" y="851"/>
                  </a:lnTo>
                  <a:lnTo>
                    <a:pt x="3018" y="849"/>
                  </a:lnTo>
                  <a:lnTo>
                    <a:pt x="3018" y="849"/>
                  </a:lnTo>
                  <a:lnTo>
                    <a:pt x="3061" y="813"/>
                  </a:lnTo>
                  <a:lnTo>
                    <a:pt x="3061" y="813"/>
                  </a:lnTo>
                  <a:lnTo>
                    <a:pt x="3105" y="779"/>
                  </a:lnTo>
                  <a:lnTo>
                    <a:pt x="3105" y="779"/>
                  </a:lnTo>
                  <a:lnTo>
                    <a:pt x="3110" y="777"/>
                  </a:lnTo>
                  <a:lnTo>
                    <a:pt x="3115" y="776"/>
                  </a:lnTo>
                  <a:lnTo>
                    <a:pt x="3121" y="777"/>
                  </a:lnTo>
                  <a:lnTo>
                    <a:pt x="3126" y="779"/>
                  </a:lnTo>
                  <a:lnTo>
                    <a:pt x="3141" y="789"/>
                  </a:lnTo>
                  <a:lnTo>
                    <a:pt x="3141" y="789"/>
                  </a:lnTo>
                  <a:lnTo>
                    <a:pt x="3161" y="803"/>
                  </a:lnTo>
                  <a:lnTo>
                    <a:pt x="3161" y="803"/>
                  </a:lnTo>
                  <a:lnTo>
                    <a:pt x="3167" y="808"/>
                  </a:lnTo>
                  <a:lnTo>
                    <a:pt x="3167" y="808"/>
                  </a:lnTo>
                  <a:lnTo>
                    <a:pt x="3174" y="812"/>
                  </a:lnTo>
                  <a:lnTo>
                    <a:pt x="3174" y="812"/>
                  </a:lnTo>
                  <a:lnTo>
                    <a:pt x="3177" y="816"/>
                  </a:lnTo>
                  <a:lnTo>
                    <a:pt x="3180" y="821"/>
                  </a:lnTo>
                  <a:lnTo>
                    <a:pt x="3180" y="827"/>
                  </a:lnTo>
                  <a:lnTo>
                    <a:pt x="3180" y="832"/>
                  </a:lnTo>
                  <a:lnTo>
                    <a:pt x="3180" y="832"/>
                  </a:lnTo>
                  <a:lnTo>
                    <a:pt x="3159" y="885"/>
                  </a:lnTo>
                  <a:lnTo>
                    <a:pt x="3159" y="885"/>
                  </a:lnTo>
                  <a:lnTo>
                    <a:pt x="3139" y="937"/>
                  </a:lnTo>
                  <a:lnTo>
                    <a:pt x="3139" y="937"/>
                  </a:lnTo>
                  <a:lnTo>
                    <a:pt x="3138" y="942"/>
                  </a:lnTo>
                  <a:lnTo>
                    <a:pt x="3139" y="947"/>
                  </a:lnTo>
                  <a:lnTo>
                    <a:pt x="3141" y="952"/>
                  </a:lnTo>
                  <a:lnTo>
                    <a:pt x="3144" y="955"/>
                  </a:lnTo>
                  <a:lnTo>
                    <a:pt x="3144" y="955"/>
                  </a:lnTo>
                  <a:lnTo>
                    <a:pt x="3152" y="962"/>
                  </a:lnTo>
                  <a:lnTo>
                    <a:pt x="3152" y="962"/>
                  </a:lnTo>
                  <a:lnTo>
                    <a:pt x="3168" y="977"/>
                  </a:lnTo>
                  <a:lnTo>
                    <a:pt x="3168" y="977"/>
                  </a:lnTo>
                  <a:lnTo>
                    <a:pt x="3193" y="998"/>
                  </a:lnTo>
                  <a:lnTo>
                    <a:pt x="3193" y="998"/>
                  </a:lnTo>
                  <a:lnTo>
                    <a:pt x="3197" y="1000"/>
                  </a:lnTo>
                  <a:lnTo>
                    <a:pt x="3203" y="1001"/>
                  </a:lnTo>
                  <a:lnTo>
                    <a:pt x="3208" y="1001"/>
                  </a:lnTo>
                  <a:lnTo>
                    <a:pt x="3212" y="999"/>
                  </a:lnTo>
                  <a:lnTo>
                    <a:pt x="3212" y="999"/>
                  </a:lnTo>
                  <a:lnTo>
                    <a:pt x="3261" y="971"/>
                  </a:lnTo>
                  <a:lnTo>
                    <a:pt x="3261" y="971"/>
                  </a:lnTo>
                  <a:lnTo>
                    <a:pt x="3309" y="944"/>
                  </a:lnTo>
                  <a:lnTo>
                    <a:pt x="3309" y="944"/>
                  </a:lnTo>
                  <a:lnTo>
                    <a:pt x="3315" y="942"/>
                  </a:lnTo>
                  <a:lnTo>
                    <a:pt x="3321" y="942"/>
                  </a:lnTo>
                  <a:lnTo>
                    <a:pt x="3326" y="944"/>
                  </a:lnTo>
                  <a:lnTo>
                    <a:pt x="3330" y="946"/>
                  </a:lnTo>
                  <a:lnTo>
                    <a:pt x="3330" y="946"/>
                  </a:lnTo>
                  <a:lnTo>
                    <a:pt x="3351" y="967"/>
                  </a:lnTo>
                  <a:lnTo>
                    <a:pt x="3351" y="967"/>
                  </a:lnTo>
                  <a:lnTo>
                    <a:pt x="3372" y="988"/>
                  </a:lnTo>
                  <a:lnTo>
                    <a:pt x="3372" y="988"/>
                  </a:lnTo>
                  <a:lnTo>
                    <a:pt x="3375" y="992"/>
                  </a:lnTo>
                  <a:lnTo>
                    <a:pt x="3376" y="997"/>
                  </a:lnTo>
                  <a:lnTo>
                    <a:pt x="3376" y="1003"/>
                  </a:lnTo>
                  <a:lnTo>
                    <a:pt x="3374" y="1008"/>
                  </a:lnTo>
                  <a:lnTo>
                    <a:pt x="3374" y="1008"/>
                  </a:lnTo>
                  <a:lnTo>
                    <a:pt x="3347" y="1058"/>
                  </a:lnTo>
                  <a:lnTo>
                    <a:pt x="3347" y="1058"/>
                  </a:lnTo>
                  <a:lnTo>
                    <a:pt x="3319" y="1106"/>
                  </a:lnTo>
                  <a:lnTo>
                    <a:pt x="3319" y="1106"/>
                  </a:lnTo>
                  <a:lnTo>
                    <a:pt x="3317" y="1110"/>
                  </a:lnTo>
                  <a:lnTo>
                    <a:pt x="3317" y="1116"/>
                  </a:lnTo>
                  <a:lnTo>
                    <a:pt x="3318" y="1121"/>
                  </a:lnTo>
                  <a:lnTo>
                    <a:pt x="3320" y="1125"/>
                  </a:lnTo>
                  <a:lnTo>
                    <a:pt x="3320" y="1125"/>
                  </a:lnTo>
                  <a:lnTo>
                    <a:pt x="3341" y="1149"/>
                  </a:lnTo>
                  <a:lnTo>
                    <a:pt x="3341" y="1149"/>
                  </a:lnTo>
                  <a:lnTo>
                    <a:pt x="3363" y="1174"/>
                  </a:lnTo>
                  <a:lnTo>
                    <a:pt x="3363" y="1174"/>
                  </a:lnTo>
                  <a:lnTo>
                    <a:pt x="3367" y="1177"/>
                  </a:lnTo>
                  <a:lnTo>
                    <a:pt x="3371" y="1179"/>
                  </a:lnTo>
                  <a:lnTo>
                    <a:pt x="3376" y="1180"/>
                  </a:lnTo>
                  <a:lnTo>
                    <a:pt x="3381" y="1179"/>
                  </a:lnTo>
                  <a:lnTo>
                    <a:pt x="3381" y="1179"/>
                  </a:lnTo>
                  <a:lnTo>
                    <a:pt x="3433" y="1158"/>
                  </a:lnTo>
                  <a:lnTo>
                    <a:pt x="3433" y="1158"/>
                  </a:lnTo>
                  <a:lnTo>
                    <a:pt x="3486" y="1138"/>
                  </a:lnTo>
                  <a:lnTo>
                    <a:pt x="3486" y="1138"/>
                  </a:lnTo>
                  <a:lnTo>
                    <a:pt x="3491" y="1137"/>
                  </a:lnTo>
                  <a:lnTo>
                    <a:pt x="3496" y="1138"/>
                  </a:lnTo>
                  <a:lnTo>
                    <a:pt x="3502" y="1140"/>
                  </a:lnTo>
                  <a:lnTo>
                    <a:pt x="3506" y="1144"/>
                  </a:lnTo>
                  <a:lnTo>
                    <a:pt x="3506" y="1144"/>
                  </a:lnTo>
                  <a:lnTo>
                    <a:pt x="3511" y="1152"/>
                  </a:lnTo>
                  <a:lnTo>
                    <a:pt x="3511" y="1152"/>
                  </a:lnTo>
                  <a:lnTo>
                    <a:pt x="3516" y="1159"/>
                  </a:lnTo>
                  <a:lnTo>
                    <a:pt x="3516" y="1159"/>
                  </a:lnTo>
                  <a:lnTo>
                    <a:pt x="3531" y="1179"/>
                  </a:lnTo>
                  <a:lnTo>
                    <a:pt x="3540" y="1191"/>
                  </a:lnTo>
                  <a:lnTo>
                    <a:pt x="3540" y="1191"/>
                  </a:lnTo>
                  <a:lnTo>
                    <a:pt x="3542" y="1196"/>
                  </a:lnTo>
                  <a:lnTo>
                    <a:pt x="3543" y="1202"/>
                  </a:lnTo>
                  <a:lnTo>
                    <a:pt x="3542" y="1208"/>
                  </a:lnTo>
                  <a:lnTo>
                    <a:pt x="3539" y="1212"/>
                  </a:lnTo>
                  <a:lnTo>
                    <a:pt x="3539" y="1212"/>
                  </a:lnTo>
                  <a:lnTo>
                    <a:pt x="3506" y="1256"/>
                  </a:lnTo>
                  <a:lnTo>
                    <a:pt x="3506" y="1256"/>
                  </a:lnTo>
                  <a:lnTo>
                    <a:pt x="3470" y="1300"/>
                  </a:lnTo>
                  <a:lnTo>
                    <a:pt x="3470" y="1300"/>
                  </a:lnTo>
                  <a:lnTo>
                    <a:pt x="3467" y="1304"/>
                  </a:lnTo>
                  <a:lnTo>
                    <a:pt x="3466" y="1309"/>
                  </a:lnTo>
                  <a:lnTo>
                    <a:pt x="3466" y="1314"/>
                  </a:lnTo>
                  <a:lnTo>
                    <a:pt x="3468" y="1319"/>
                  </a:lnTo>
                  <a:lnTo>
                    <a:pt x="3468" y="1319"/>
                  </a:lnTo>
                  <a:lnTo>
                    <a:pt x="3485" y="1347"/>
                  </a:lnTo>
                  <a:lnTo>
                    <a:pt x="3485" y="1347"/>
                  </a:lnTo>
                  <a:lnTo>
                    <a:pt x="3497" y="1365"/>
                  </a:lnTo>
                  <a:lnTo>
                    <a:pt x="3502" y="1374"/>
                  </a:lnTo>
                  <a:lnTo>
                    <a:pt x="3502" y="1374"/>
                  </a:lnTo>
                  <a:lnTo>
                    <a:pt x="3506" y="1378"/>
                  </a:lnTo>
                  <a:lnTo>
                    <a:pt x="3510" y="1380"/>
                  </a:lnTo>
                  <a:lnTo>
                    <a:pt x="3515" y="1382"/>
                  </a:lnTo>
                  <a:lnTo>
                    <a:pt x="3520" y="1381"/>
                  </a:lnTo>
                  <a:lnTo>
                    <a:pt x="3520" y="1381"/>
                  </a:lnTo>
                  <a:lnTo>
                    <a:pt x="3575" y="1369"/>
                  </a:lnTo>
                  <a:lnTo>
                    <a:pt x="3575" y="1369"/>
                  </a:lnTo>
                  <a:lnTo>
                    <a:pt x="3630" y="1358"/>
                  </a:lnTo>
                  <a:lnTo>
                    <a:pt x="3630" y="1358"/>
                  </a:lnTo>
                  <a:lnTo>
                    <a:pt x="3635" y="1358"/>
                  </a:lnTo>
                  <a:lnTo>
                    <a:pt x="3641" y="1360"/>
                  </a:lnTo>
                  <a:lnTo>
                    <a:pt x="3645" y="1363"/>
                  </a:lnTo>
                  <a:lnTo>
                    <a:pt x="3649" y="1367"/>
                  </a:lnTo>
                  <a:lnTo>
                    <a:pt x="3675" y="1419"/>
                  </a:lnTo>
                  <a:lnTo>
                    <a:pt x="3675" y="1419"/>
                  </a:lnTo>
                  <a:lnTo>
                    <a:pt x="3676" y="1424"/>
                  </a:lnTo>
                  <a:lnTo>
                    <a:pt x="3676" y="1430"/>
                  </a:lnTo>
                  <a:lnTo>
                    <a:pt x="3674" y="1436"/>
                  </a:lnTo>
                  <a:lnTo>
                    <a:pt x="3671" y="1440"/>
                  </a:lnTo>
                  <a:lnTo>
                    <a:pt x="3671" y="1440"/>
                  </a:lnTo>
                  <a:lnTo>
                    <a:pt x="3630" y="1477"/>
                  </a:lnTo>
                  <a:lnTo>
                    <a:pt x="3630" y="1477"/>
                  </a:lnTo>
                  <a:lnTo>
                    <a:pt x="3588" y="1515"/>
                  </a:lnTo>
                  <a:lnTo>
                    <a:pt x="3588" y="1515"/>
                  </a:lnTo>
                  <a:lnTo>
                    <a:pt x="3584" y="1519"/>
                  </a:lnTo>
                  <a:lnTo>
                    <a:pt x="3583" y="1523"/>
                  </a:lnTo>
                  <a:lnTo>
                    <a:pt x="3582" y="1529"/>
                  </a:lnTo>
                  <a:lnTo>
                    <a:pt x="3583" y="1534"/>
                  </a:lnTo>
                  <a:lnTo>
                    <a:pt x="3583" y="1534"/>
                  </a:lnTo>
                  <a:lnTo>
                    <a:pt x="3587" y="1543"/>
                  </a:lnTo>
                  <a:lnTo>
                    <a:pt x="3587" y="1543"/>
                  </a:lnTo>
                  <a:lnTo>
                    <a:pt x="3593" y="1552"/>
                  </a:lnTo>
                  <a:lnTo>
                    <a:pt x="3597" y="1563"/>
                  </a:lnTo>
                  <a:lnTo>
                    <a:pt x="3597" y="1563"/>
                  </a:lnTo>
                  <a:lnTo>
                    <a:pt x="3609" y="1594"/>
                  </a:lnTo>
                  <a:lnTo>
                    <a:pt x="3609" y="1594"/>
                  </a:lnTo>
                  <a:lnTo>
                    <a:pt x="3611" y="1598"/>
                  </a:lnTo>
                  <a:lnTo>
                    <a:pt x="3615" y="1601"/>
                  </a:lnTo>
                  <a:lnTo>
                    <a:pt x="3620" y="1603"/>
                  </a:lnTo>
                  <a:lnTo>
                    <a:pt x="3625" y="1604"/>
                  </a:lnTo>
                  <a:lnTo>
                    <a:pt x="3625" y="1604"/>
                  </a:lnTo>
                  <a:lnTo>
                    <a:pt x="3681" y="1600"/>
                  </a:lnTo>
                  <a:lnTo>
                    <a:pt x="3681" y="1600"/>
                  </a:lnTo>
                  <a:lnTo>
                    <a:pt x="3738" y="1598"/>
                  </a:lnTo>
                  <a:lnTo>
                    <a:pt x="3738" y="1598"/>
                  </a:lnTo>
                  <a:lnTo>
                    <a:pt x="3743" y="1599"/>
                  </a:lnTo>
                  <a:lnTo>
                    <a:pt x="3747" y="1601"/>
                  </a:lnTo>
                  <a:lnTo>
                    <a:pt x="3751" y="1605"/>
                  </a:lnTo>
                  <a:lnTo>
                    <a:pt x="3754" y="1610"/>
                  </a:lnTo>
                  <a:lnTo>
                    <a:pt x="3759" y="1627"/>
                  </a:lnTo>
                  <a:lnTo>
                    <a:pt x="3759" y="1627"/>
                  </a:lnTo>
                  <a:lnTo>
                    <a:pt x="3767" y="1651"/>
                  </a:lnTo>
                  <a:lnTo>
                    <a:pt x="3767" y="1651"/>
                  </a:lnTo>
                  <a:lnTo>
                    <a:pt x="3770" y="1658"/>
                  </a:lnTo>
                  <a:lnTo>
                    <a:pt x="3770" y="1658"/>
                  </a:lnTo>
                  <a:lnTo>
                    <a:pt x="3772" y="1665"/>
                  </a:lnTo>
                  <a:lnTo>
                    <a:pt x="3772" y="1665"/>
                  </a:lnTo>
                  <a:lnTo>
                    <a:pt x="3772" y="1671"/>
                  </a:lnTo>
                  <a:lnTo>
                    <a:pt x="3771" y="1677"/>
                  </a:lnTo>
                  <a:lnTo>
                    <a:pt x="3769" y="1681"/>
                  </a:lnTo>
                  <a:lnTo>
                    <a:pt x="3765" y="1685"/>
                  </a:lnTo>
                  <a:lnTo>
                    <a:pt x="3765" y="1685"/>
                  </a:lnTo>
                  <a:lnTo>
                    <a:pt x="3718" y="1716"/>
                  </a:lnTo>
                  <a:lnTo>
                    <a:pt x="3718" y="1716"/>
                  </a:lnTo>
                  <a:lnTo>
                    <a:pt x="3671" y="1746"/>
                  </a:lnTo>
                  <a:lnTo>
                    <a:pt x="3671" y="1746"/>
                  </a:lnTo>
                  <a:lnTo>
                    <a:pt x="3667" y="1749"/>
                  </a:lnTo>
                  <a:lnTo>
                    <a:pt x="3665" y="1754"/>
                  </a:lnTo>
                  <a:lnTo>
                    <a:pt x="3664" y="1759"/>
                  </a:lnTo>
                  <a:lnTo>
                    <a:pt x="3664" y="1764"/>
                  </a:lnTo>
                  <a:lnTo>
                    <a:pt x="3664" y="1764"/>
                  </a:lnTo>
                  <a:lnTo>
                    <a:pt x="3667" y="1774"/>
                  </a:lnTo>
                  <a:lnTo>
                    <a:pt x="3667" y="1774"/>
                  </a:lnTo>
                  <a:lnTo>
                    <a:pt x="3672" y="1795"/>
                  </a:lnTo>
                  <a:lnTo>
                    <a:pt x="3672" y="1795"/>
                  </a:lnTo>
                  <a:lnTo>
                    <a:pt x="3679" y="1827"/>
                  </a:lnTo>
                  <a:lnTo>
                    <a:pt x="3679" y="1827"/>
                  </a:lnTo>
                  <a:lnTo>
                    <a:pt x="3681" y="1832"/>
                  </a:lnTo>
                  <a:lnTo>
                    <a:pt x="3684" y="1836"/>
                  </a:lnTo>
                  <a:lnTo>
                    <a:pt x="3690" y="1838"/>
                  </a:lnTo>
                  <a:lnTo>
                    <a:pt x="3695" y="1840"/>
                  </a:lnTo>
                  <a:lnTo>
                    <a:pt x="3695" y="1840"/>
                  </a:lnTo>
                  <a:lnTo>
                    <a:pt x="3750" y="1845"/>
                  </a:lnTo>
                  <a:lnTo>
                    <a:pt x="3750" y="1845"/>
                  </a:lnTo>
                  <a:lnTo>
                    <a:pt x="3805" y="1851"/>
                  </a:lnTo>
                  <a:lnTo>
                    <a:pt x="3805" y="1851"/>
                  </a:lnTo>
                  <a:lnTo>
                    <a:pt x="3810" y="1853"/>
                  </a:lnTo>
                  <a:lnTo>
                    <a:pt x="3815" y="1857"/>
                  </a:lnTo>
                  <a:lnTo>
                    <a:pt x="3818" y="1861"/>
                  </a:lnTo>
                  <a:lnTo>
                    <a:pt x="3820" y="1866"/>
                  </a:lnTo>
                  <a:lnTo>
                    <a:pt x="3820" y="1866"/>
                  </a:lnTo>
                  <a:lnTo>
                    <a:pt x="3825" y="1895"/>
                  </a:lnTo>
                  <a:lnTo>
                    <a:pt x="3825" y="1895"/>
                  </a:lnTo>
                  <a:lnTo>
                    <a:pt x="3829" y="1915"/>
                  </a:lnTo>
                  <a:lnTo>
                    <a:pt x="3830" y="1924"/>
                  </a:lnTo>
                  <a:lnTo>
                    <a:pt x="3830" y="1924"/>
                  </a:lnTo>
                  <a:lnTo>
                    <a:pt x="3829" y="1929"/>
                  </a:lnTo>
                  <a:lnTo>
                    <a:pt x="3828" y="1934"/>
                  </a:lnTo>
                  <a:lnTo>
                    <a:pt x="3823" y="1939"/>
                  </a:lnTo>
                  <a:lnTo>
                    <a:pt x="3819" y="1942"/>
                  </a:lnTo>
                  <a:lnTo>
                    <a:pt x="3819" y="1942"/>
                  </a:lnTo>
                  <a:lnTo>
                    <a:pt x="3768" y="1965"/>
                  </a:lnTo>
                  <a:lnTo>
                    <a:pt x="3768" y="1965"/>
                  </a:lnTo>
                  <a:lnTo>
                    <a:pt x="3717" y="1987"/>
                  </a:lnTo>
                  <a:lnTo>
                    <a:pt x="3717" y="1987"/>
                  </a:lnTo>
                  <a:lnTo>
                    <a:pt x="3713" y="1990"/>
                  </a:lnTo>
                  <a:lnTo>
                    <a:pt x="3710" y="1994"/>
                  </a:lnTo>
                  <a:lnTo>
                    <a:pt x="3708" y="2000"/>
                  </a:lnTo>
                  <a:lnTo>
                    <a:pt x="3707" y="2005"/>
                  </a:lnTo>
                  <a:lnTo>
                    <a:pt x="3712" y="2069"/>
                  </a:lnTo>
                  <a:lnTo>
                    <a:pt x="3712" y="2069"/>
                  </a:lnTo>
                  <a:lnTo>
                    <a:pt x="3714" y="2074"/>
                  </a:lnTo>
                  <a:lnTo>
                    <a:pt x="3716" y="2078"/>
                  </a:lnTo>
                  <a:lnTo>
                    <a:pt x="3720" y="2081"/>
                  </a:lnTo>
                  <a:lnTo>
                    <a:pt x="3725" y="2083"/>
                  </a:lnTo>
                  <a:lnTo>
                    <a:pt x="3725" y="2083"/>
                  </a:lnTo>
                  <a:lnTo>
                    <a:pt x="3779" y="2098"/>
                  </a:lnTo>
                  <a:lnTo>
                    <a:pt x="3779" y="2098"/>
                  </a:lnTo>
                  <a:lnTo>
                    <a:pt x="3833" y="2113"/>
                  </a:lnTo>
                  <a:lnTo>
                    <a:pt x="3833" y="2113"/>
                  </a:lnTo>
                  <a:lnTo>
                    <a:pt x="3838" y="2115"/>
                  </a:lnTo>
                  <a:lnTo>
                    <a:pt x="3842" y="2119"/>
                  </a:lnTo>
                  <a:lnTo>
                    <a:pt x="3844" y="2124"/>
                  </a:lnTo>
                  <a:lnTo>
                    <a:pt x="3845" y="2129"/>
                  </a:lnTo>
                  <a:lnTo>
                    <a:pt x="3846" y="2147"/>
                  </a:lnTo>
                  <a:lnTo>
                    <a:pt x="3846" y="2147"/>
                  </a:lnTo>
                  <a:lnTo>
                    <a:pt x="3846" y="2173"/>
                  </a:lnTo>
                  <a:lnTo>
                    <a:pt x="3845" y="2188"/>
                  </a:lnTo>
                  <a:lnTo>
                    <a:pt x="3845" y="2188"/>
                  </a:lnTo>
                  <a:lnTo>
                    <a:pt x="3844" y="2193"/>
                  </a:lnTo>
                  <a:lnTo>
                    <a:pt x="3842" y="2198"/>
                  </a:lnTo>
                  <a:lnTo>
                    <a:pt x="3838" y="2202"/>
                  </a:lnTo>
                  <a:lnTo>
                    <a:pt x="3833" y="2204"/>
                  </a:lnTo>
                  <a:lnTo>
                    <a:pt x="3833" y="2204"/>
                  </a:lnTo>
                  <a:lnTo>
                    <a:pt x="3779" y="2219"/>
                  </a:lnTo>
                  <a:lnTo>
                    <a:pt x="3779" y="2219"/>
                  </a:lnTo>
                  <a:lnTo>
                    <a:pt x="3725" y="2234"/>
                  </a:lnTo>
                  <a:lnTo>
                    <a:pt x="3725" y="2234"/>
                  </a:lnTo>
                  <a:lnTo>
                    <a:pt x="3720" y="2236"/>
                  </a:lnTo>
                  <a:lnTo>
                    <a:pt x="3716" y="2240"/>
                  </a:lnTo>
                  <a:lnTo>
                    <a:pt x="3714" y="2244"/>
                  </a:lnTo>
                  <a:lnTo>
                    <a:pt x="3712" y="2249"/>
                  </a:lnTo>
                  <a:lnTo>
                    <a:pt x="3708" y="2313"/>
                  </a:lnTo>
                  <a:lnTo>
                    <a:pt x="3708" y="2313"/>
                  </a:lnTo>
                  <a:lnTo>
                    <a:pt x="3708" y="2318"/>
                  </a:lnTo>
                  <a:lnTo>
                    <a:pt x="3710" y="2322"/>
                  </a:lnTo>
                  <a:lnTo>
                    <a:pt x="3713" y="2327"/>
                  </a:lnTo>
                  <a:lnTo>
                    <a:pt x="3718" y="2330"/>
                  </a:lnTo>
                  <a:lnTo>
                    <a:pt x="3718" y="2330"/>
                  </a:lnTo>
                  <a:lnTo>
                    <a:pt x="3769" y="2352"/>
                  </a:lnTo>
                  <a:lnTo>
                    <a:pt x="3769" y="2352"/>
                  </a:lnTo>
                  <a:lnTo>
                    <a:pt x="3820" y="2376"/>
                  </a:lnTo>
                  <a:lnTo>
                    <a:pt x="3820" y="2376"/>
                  </a:lnTo>
                  <a:lnTo>
                    <a:pt x="3824" y="2379"/>
                  </a:lnTo>
                  <a:lnTo>
                    <a:pt x="3828" y="2383"/>
                  </a:lnTo>
                  <a:lnTo>
                    <a:pt x="3830" y="2388"/>
                  </a:lnTo>
                  <a:lnTo>
                    <a:pt x="3830" y="2393"/>
                  </a:lnTo>
                  <a:lnTo>
                    <a:pt x="3830" y="2393"/>
                  </a:lnTo>
                  <a:lnTo>
                    <a:pt x="3829" y="2402"/>
                  </a:lnTo>
                  <a:lnTo>
                    <a:pt x="3825" y="2423"/>
                  </a:lnTo>
                  <a:lnTo>
                    <a:pt x="3825" y="2423"/>
                  </a:lnTo>
                  <a:lnTo>
                    <a:pt x="3820" y="2451"/>
                  </a:lnTo>
                  <a:lnTo>
                    <a:pt x="3820" y="2451"/>
                  </a:lnTo>
                  <a:lnTo>
                    <a:pt x="3818" y="2456"/>
                  </a:lnTo>
                  <a:lnTo>
                    <a:pt x="3815" y="2460"/>
                  </a:lnTo>
                  <a:lnTo>
                    <a:pt x="3811" y="2463"/>
                  </a:lnTo>
                  <a:lnTo>
                    <a:pt x="3806" y="2466"/>
                  </a:lnTo>
                  <a:lnTo>
                    <a:pt x="3806" y="2466"/>
                  </a:lnTo>
                  <a:lnTo>
                    <a:pt x="3750" y="2472"/>
                  </a:lnTo>
                  <a:lnTo>
                    <a:pt x="3750" y="2472"/>
                  </a:lnTo>
                  <a:lnTo>
                    <a:pt x="3695" y="2478"/>
                  </a:lnTo>
                  <a:lnTo>
                    <a:pt x="3695" y="2478"/>
                  </a:lnTo>
                  <a:lnTo>
                    <a:pt x="3690" y="2479"/>
                  </a:lnTo>
                  <a:lnTo>
                    <a:pt x="3685" y="2482"/>
                  </a:lnTo>
                  <a:lnTo>
                    <a:pt x="3681" y="2486"/>
                  </a:lnTo>
                  <a:lnTo>
                    <a:pt x="3679" y="2490"/>
                  </a:lnTo>
                  <a:lnTo>
                    <a:pt x="3679" y="2490"/>
                  </a:lnTo>
                  <a:lnTo>
                    <a:pt x="3672" y="2522"/>
                  </a:lnTo>
                  <a:lnTo>
                    <a:pt x="3672" y="2522"/>
                  </a:lnTo>
                  <a:lnTo>
                    <a:pt x="3667" y="2543"/>
                  </a:lnTo>
                  <a:lnTo>
                    <a:pt x="3667" y="2543"/>
                  </a:lnTo>
                  <a:lnTo>
                    <a:pt x="3665" y="2553"/>
                  </a:lnTo>
                  <a:lnTo>
                    <a:pt x="3665" y="2553"/>
                  </a:lnTo>
                  <a:lnTo>
                    <a:pt x="3664" y="2558"/>
                  </a:lnTo>
                  <a:lnTo>
                    <a:pt x="3666" y="2564"/>
                  </a:lnTo>
                  <a:lnTo>
                    <a:pt x="3668" y="2568"/>
                  </a:lnTo>
                  <a:lnTo>
                    <a:pt x="3672" y="2572"/>
                  </a:lnTo>
                  <a:lnTo>
                    <a:pt x="3672" y="2572"/>
                  </a:lnTo>
                  <a:lnTo>
                    <a:pt x="3719" y="2601"/>
                  </a:lnTo>
                  <a:lnTo>
                    <a:pt x="3719" y="2601"/>
                  </a:lnTo>
                  <a:lnTo>
                    <a:pt x="3766" y="2632"/>
                  </a:lnTo>
                  <a:lnTo>
                    <a:pt x="3766" y="2632"/>
                  </a:lnTo>
                  <a:lnTo>
                    <a:pt x="3770" y="2636"/>
                  </a:lnTo>
                  <a:lnTo>
                    <a:pt x="3772" y="2641"/>
                  </a:lnTo>
                  <a:lnTo>
                    <a:pt x="3773" y="2646"/>
                  </a:lnTo>
                  <a:lnTo>
                    <a:pt x="3773" y="2651"/>
                  </a:lnTo>
                  <a:lnTo>
                    <a:pt x="3773" y="2651"/>
                  </a:lnTo>
                  <a:lnTo>
                    <a:pt x="3770" y="2661"/>
                  </a:lnTo>
                  <a:lnTo>
                    <a:pt x="3770" y="2661"/>
                  </a:lnTo>
                  <a:lnTo>
                    <a:pt x="3767" y="2669"/>
                  </a:lnTo>
                  <a:lnTo>
                    <a:pt x="3767" y="2669"/>
                  </a:lnTo>
                  <a:lnTo>
                    <a:pt x="3759" y="2693"/>
                  </a:lnTo>
                  <a:lnTo>
                    <a:pt x="3755" y="2708"/>
                  </a:lnTo>
                  <a:lnTo>
                    <a:pt x="3755" y="2708"/>
                  </a:lnTo>
                  <a:lnTo>
                    <a:pt x="3752" y="2712"/>
                  </a:lnTo>
                  <a:lnTo>
                    <a:pt x="3748" y="2716"/>
                  </a:lnTo>
                  <a:lnTo>
                    <a:pt x="3744" y="2719"/>
                  </a:lnTo>
                  <a:lnTo>
                    <a:pt x="3739" y="2719"/>
                  </a:lnTo>
                  <a:lnTo>
                    <a:pt x="3739" y="2719"/>
                  </a:lnTo>
                  <a:lnTo>
                    <a:pt x="3682" y="2717"/>
                  </a:lnTo>
                  <a:lnTo>
                    <a:pt x="3682" y="2717"/>
                  </a:lnTo>
                  <a:lnTo>
                    <a:pt x="3626" y="2714"/>
                  </a:lnTo>
                  <a:lnTo>
                    <a:pt x="3626" y="2714"/>
                  </a:lnTo>
                  <a:lnTo>
                    <a:pt x="3621" y="2714"/>
                  </a:lnTo>
                  <a:lnTo>
                    <a:pt x="3616" y="2716"/>
                  </a:lnTo>
                  <a:lnTo>
                    <a:pt x="3612" y="2720"/>
                  </a:lnTo>
                  <a:lnTo>
                    <a:pt x="3609" y="2724"/>
                  </a:lnTo>
                  <a:lnTo>
                    <a:pt x="3609" y="2724"/>
                  </a:lnTo>
                  <a:lnTo>
                    <a:pt x="3598" y="2754"/>
                  </a:lnTo>
                  <a:lnTo>
                    <a:pt x="3598" y="2754"/>
                  </a:lnTo>
                  <a:lnTo>
                    <a:pt x="3588" y="2774"/>
                  </a:lnTo>
                  <a:lnTo>
                    <a:pt x="3588" y="2774"/>
                  </a:lnTo>
                  <a:lnTo>
                    <a:pt x="3584" y="2783"/>
                  </a:lnTo>
                  <a:lnTo>
                    <a:pt x="3584" y="2783"/>
                  </a:lnTo>
                  <a:lnTo>
                    <a:pt x="3583" y="2788"/>
                  </a:lnTo>
                  <a:lnTo>
                    <a:pt x="3584" y="2793"/>
                  </a:lnTo>
                  <a:lnTo>
                    <a:pt x="3585" y="2799"/>
                  </a:lnTo>
                  <a:lnTo>
                    <a:pt x="3589" y="2803"/>
                  </a:lnTo>
                  <a:lnTo>
                    <a:pt x="3589" y="2803"/>
                  </a:lnTo>
                  <a:lnTo>
                    <a:pt x="3631" y="2839"/>
                  </a:lnTo>
                  <a:lnTo>
                    <a:pt x="3631" y="2839"/>
                  </a:lnTo>
                  <a:lnTo>
                    <a:pt x="3672" y="2878"/>
                  </a:lnTo>
                  <a:lnTo>
                    <a:pt x="3672" y="2878"/>
                  </a:lnTo>
                  <a:lnTo>
                    <a:pt x="3675" y="2882"/>
                  </a:lnTo>
                  <a:lnTo>
                    <a:pt x="3677" y="2887"/>
                  </a:lnTo>
                  <a:lnTo>
                    <a:pt x="3677" y="2893"/>
                  </a:lnTo>
                  <a:lnTo>
                    <a:pt x="3676" y="2898"/>
                  </a:lnTo>
                  <a:lnTo>
                    <a:pt x="3650" y="2950"/>
                  </a:lnTo>
                  <a:lnTo>
                    <a:pt x="3650" y="2950"/>
                  </a:lnTo>
                  <a:lnTo>
                    <a:pt x="3647" y="2955"/>
                  </a:lnTo>
                  <a:lnTo>
                    <a:pt x="3642" y="2958"/>
                  </a:lnTo>
                  <a:lnTo>
                    <a:pt x="3636" y="2959"/>
                  </a:lnTo>
                  <a:lnTo>
                    <a:pt x="3631" y="2959"/>
                  </a:lnTo>
                  <a:lnTo>
                    <a:pt x="3631" y="2959"/>
                  </a:lnTo>
                  <a:lnTo>
                    <a:pt x="3576" y="2948"/>
                  </a:lnTo>
                  <a:lnTo>
                    <a:pt x="3576" y="2948"/>
                  </a:lnTo>
                  <a:lnTo>
                    <a:pt x="3521" y="2936"/>
                  </a:lnTo>
                  <a:lnTo>
                    <a:pt x="3521" y="2936"/>
                  </a:lnTo>
                  <a:lnTo>
                    <a:pt x="3516" y="2936"/>
                  </a:lnTo>
                  <a:lnTo>
                    <a:pt x="3511" y="2937"/>
                  </a:lnTo>
                  <a:lnTo>
                    <a:pt x="3507" y="2940"/>
                  </a:lnTo>
                  <a:lnTo>
                    <a:pt x="3504" y="2944"/>
                  </a:lnTo>
                  <a:lnTo>
                    <a:pt x="3504" y="2944"/>
                  </a:lnTo>
                  <a:lnTo>
                    <a:pt x="3499" y="2952"/>
                  </a:lnTo>
                  <a:lnTo>
                    <a:pt x="3487" y="2971"/>
                  </a:lnTo>
                  <a:lnTo>
                    <a:pt x="3487" y="2971"/>
                  </a:lnTo>
                  <a:lnTo>
                    <a:pt x="3469" y="2999"/>
                  </a:lnTo>
                  <a:lnTo>
                    <a:pt x="3469" y="2999"/>
                  </a:lnTo>
                  <a:lnTo>
                    <a:pt x="3468" y="3003"/>
                  </a:lnTo>
                  <a:lnTo>
                    <a:pt x="3467" y="3008"/>
                  </a:lnTo>
                  <a:lnTo>
                    <a:pt x="3468" y="3014"/>
                  </a:lnTo>
                  <a:lnTo>
                    <a:pt x="3471" y="3018"/>
                  </a:lnTo>
                  <a:lnTo>
                    <a:pt x="3471" y="3018"/>
                  </a:lnTo>
                  <a:lnTo>
                    <a:pt x="3507" y="3061"/>
                  </a:lnTo>
                  <a:lnTo>
                    <a:pt x="3507" y="3061"/>
                  </a:lnTo>
                  <a:lnTo>
                    <a:pt x="3541" y="3105"/>
                  </a:lnTo>
                  <a:lnTo>
                    <a:pt x="3541" y="3105"/>
                  </a:lnTo>
                  <a:lnTo>
                    <a:pt x="3543" y="3110"/>
                  </a:lnTo>
                  <a:lnTo>
                    <a:pt x="3544" y="3115"/>
                  </a:lnTo>
                  <a:lnTo>
                    <a:pt x="3543" y="3121"/>
                  </a:lnTo>
                  <a:lnTo>
                    <a:pt x="3541" y="3126"/>
                  </a:lnTo>
                  <a:lnTo>
                    <a:pt x="3531" y="3141"/>
                  </a:lnTo>
                  <a:lnTo>
                    <a:pt x="3531" y="3141"/>
                  </a:lnTo>
                  <a:lnTo>
                    <a:pt x="3516" y="3161"/>
                  </a:lnTo>
                  <a:lnTo>
                    <a:pt x="3516" y="3161"/>
                  </a:lnTo>
                  <a:lnTo>
                    <a:pt x="3512" y="3167"/>
                  </a:lnTo>
                  <a:lnTo>
                    <a:pt x="3512" y="3167"/>
                  </a:lnTo>
                  <a:lnTo>
                    <a:pt x="3508" y="3174"/>
                  </a:lnTo>
                  <a:lnTo>
                    <a:pt x="3508" y="3174"/>
                  </a:lnTo>
                  <a:lnTo>
                    <a:pt x="3504" y="3177"/>
                  </a:lnTo>
                  <a:lnTo>
                    <a:pt x="3499" y="3180"/>
                  </a:lnTo>
                  <a:lnTo>
                    <a:pt x="3493" y="3180"/>
                  </a:lnTo>
                  <a:lnTo>
                    <a:pt x="3487" y="3180"/>
                  </a:lnTo>
                  <a:lnTo>
                    <a:pt x="3487" y="3180"/>
                  </a:lnTo>
                  <a:lnTo>
                    <a:pt x="3435" y="3159"/>
                  </a:lnTo>
                  <a:lnTo>
                    <a:pt x="3435" y="3159"/>
                  </a:lnTo>
                  <a:lnTo>
                    <a:pt x="3383" y="3139"/>
                  </a:lnTo>
                  <a:lnTo>
                    <a:pt x="3383" y="3139"/>
                  </a:lnTo>
                  <a:lnTo>
                    <a:pt x="3378" y="3138"/>
                  </a:lnTo>
                  <a:lnTo>
                    <a:pt x="3373" y="3139"/>
                  </a:lnTo>
                  <a:lnTo>
                    <a:pt x="3368" y="3141"/>
                  </a:lnTo>
                  <a:lnTo>
                    <a:pt x="3364" y="3144"/>
                  </a:lnTo>
                  <a:lnTo>
                    <a:pt x="3364" y="3144"/>
                  </a:lnTo>
                  <a:lnTo>
                    <a:pt x="3358" y="3152"/>
                  </a:lnTo>
                  <a:lnTo>
                    <a:pt x="3358" y="3152"/>
                  </a:lnTo>
                  <a:lnTo>
                    <a:pt x="3343" y="3168"/>
                  </a:lnTo>
                  <a:lnTo>
                    <a:pt x="3343" y="3168"/>
                  </a:lnTo>
                  <a:lnTo>
                    <a:pt x="3322" y="3193"/>
                  </a:lnTo>
                  <a:lnTo>
                    <a:pt x="3322" y="3193"/>
                  </a:lnTo>
                  <a:lnTo>
                    <a:pt x="3320" y="3197"/>
                  </a:lnTo>
                  <a:lnTo>
                    <a:pt x="3319" y="3203"/>
                  </a:lnTo>
                  <a:lnTo>
                    <a:pt x="3319" y="3208"/>
                  </a:lnTo>
                  <a:lnTo>
                    <a:pt x="3321" y="3212"/>
                  </a:lnTo>
                  <a:lnTo>
                    <a:pt x="3321" y="3212"/>
                  </a:lnTo>
                  <a:lnTo>
                    <a:pt x="3348" y="3261"/>
                  </a:lnTo>
                  <a:lnTo>
                    <a:pt x="3348" y="3261"/>
                  </a:lnTo>
                  <a:lnTo>
                    <a:pt x="3376" y="3309"/>
                  </a:lnTo>
                  <a:lnTo>
                    <a:pt x="3376" y="3309"/>
                  </a:lnTo>
                  <a:lnTo>
                    <a:pt x="3378" y="3315"/>
                  </a:lnTo>
                  <a:lnTo>
                    <a:pt x="3378" y="3321"/>
                  </a:lnTo>
                  <a:lnTo>
                    <a:pt x="3376" y="3326"/>
                  </a:lnTo>
                  <a:lnTo>
                    <a:pt x="3373" y="3330"/>
                  </a:lnTo>
                  <a:lnTo>
                    <a:pt x="3373" y="3330"/>
                  </a:lnTo>
                  <a:lnTo>
                    <a:pt x="3353" y="3351"/>
                  </a:lnTo>
                  <a:lnTo>
                    <a:pt x="3353" y="3351"/>
                  </a:lnTo>
                  <a:lnTo>
                    <a:pt x="3332" y="3372"/>
                  </a:lnTo>
                  <a:lnTo>
                    <a:pt x="3332" y="3372"/>
                  </a:lnTo>
                  <a:lnTo>
                    <a:pt x="3328" y="3375"/>
                  </a:lnTo>
                  <a:lnTo>
                    <a:pt x="3322" y="3376"/>
                  </a:lnTo>
                  <a:lnTo>
                    <a:pt x="3317" y="3376"/>
                  </a:lnTo>
                  <a:lnTo>
                    <a:pt x="3312" y="3374"/>
                  </a:lnTo>
                  <a:lnTo>
                    <a:pt x="3312" y="3374"/>
                  </a:lnTo>
                  <a:lnTo>
                    <a:pt x="3262" y="3347"/>
                  </a:lnTo>
                  <a:lnTo>
                    <a:pt x="3262" y="3347"/>
                  </a:lnTo>
                  <a:lnTo>
                    <a:pt x="3214" y="3319"/>
                  </a:lnTo>
                  <a:lnTo>
                    <a:pt x="3214" y="3319"/>
                  </a:lnTo>
                  <a:lnTo>
                    <a:pt x="3210" y="3317"/>
                  </a:lnTo>
                  <a:lnTo>
                    <a:pt x="3204" y="3317"/>
                  </a:lnTo>
                  <a:lnTo>
                    <a:pt x="3199" y="3318"/>
                  </a:lnTo>
                  <a:lnTo>
                    <a:pt x="3195" y="3320"/>
                  </a:lnTo>
                  <a:lnTo>
                    <a:pt x="3195" y="3320"/>
                  </a:lnTo>
                  <a:lnTo>
                    <a:pt x="3171" y="3341"/>
                  </a:lnTo>
                  <a:lnTo>
                    <a:pt x="3171" y="3341"/>
                  </a:lnTo>
                  <a:lnTo>
                    <a:pt x="3146" y="3363"/>
                  </a:lnTo>
                  <a:lnTo>
                    <a:pt x="3146" y="3363"/>
                  </a:lnTo>
                  <a:lnTo>
                    <a:pt x="3143" y="3367"/>
                  </a:lnTo>
                  <a:lnTo>
                    <a:pt x="3141" y="3371"/>
                  </a:lnTo>
                  <a:lnTo>
                    <a:pt x="3140" y="3376"/>
                  </a:lnTo>
                  <a:lnTo>
                    <a:pt x="3141" y="3381"/>
                  </a:lnTo>
                  <a:lnTo>
                    <a:pt x="3141" y="3381"/>
                  </a:lnTo>
                  <a:lnTo>
                    <a:pt x="3161" y="3433"/>
                  </a:lnTo>
                  <a:lnTo>
                    <a:pt x="3161" y="3433"/>
                  </a:lnTo>
                  <a:lnTo>
                    <a:pt x="3182" y="3486"/>
                  </a:lnTo>
                  <a:lnTo>
                    <a:pt x="3182" y="3486"/>
                  </a:lnTo>
                  <a:lnTo>
                    <a:pt x="3182" y="3491"/>
                  </a:lnTo>
                  <a:lnTo>
                    <a:pt x="3182" y="3496"/>
                  </a:lnTo>
                  <a:lnTo>
                    <a:pt x="3179" y="3502"/>
                  </a:lnTo>
                  <a:lnTo>
                    <a:pt x="3176" y="3506"/>
                  </a:lnTo>
                  <a:lnTo>
                    <a:pt x="3176" y="3506"/>
                  </a:lnTo>
                  <a:lnTo>
                    <a:pt x="3168" y="3511"/>
                  </a:lnTo>
                  <a:lnTo>
                    <a:pt x="3168" y="3511"/>
                  </a:lnTo>
                  <a:lnTo>
                    <a:pt x="3161" y="3516"/>
                  </a:lnTo>
                  <a:lnTo>
                    <a:pt x="3161" y="3516"/>
                  </a:lnTo>
                  <a:lnTo>
                    <a:pt x="3141" y="3531"/>
                  </a:lnTo>
                  <a:lnTo>
                    <a:pt x="3129" y="3540"/>
                  </a:lnTo>
                  <a:lnTo>
                    <a:pt x="3129" y="3540"/>
                  </a:lnTo>
                  <a:lnTo>
                    <a:pt x="3124" y="3542"/>
                  </a:lnTo>
                  <a:lnTo>
                    <a:pt x="3117" y="3543"/>
                  </a:lnTo>
                  <a:lnTo>
                    <a:pt x="3112" y="3542"/>
                  </a:lnTo>
                  <a:lnTo>
                    <a:pt x="3108" y="3539"/>
                  </a:lnTo>
                  <a:lnTo>
                    <a:pt x="3108" y="3539"/>
                  </a:lnTo>
                  <a:lnTo>
                    <a:pt x="3064" y="3506"/>
                  </a:lnTo>
                  <a:lnTo>
                    <a:pt x="3064" y="3506"/>
                  </a:lnTo>
                  <a:lnTo>
                    <a:pt x="3020" y="3470"/>
                  </a:lnTo>
                  <a:lnTo>
                    <a:pt x="3020" y="3470"/>
                  </a:lnTo>
                  <a:lnTo>
                    <a:pt x="3016" y="3467"/>
                  </a:lnTo>
                  <a:lnTo>
                    <a:pt x="3011" y="3466"/>
                  </a:lnTo>
                  <a:lnTo>
                    <a:pt x="3005" y="3466"/>
                  </a:lnTo>
                  <a:lnTo>
                    <a:pt x="3001" y="3468"/>
                  </a:lnTo>
                  <a:lnTo>
                    <a:pt x="3001" y="3468"/>
                  </a:lnTo>
                  <a:lnTo>
                    <a:pt x="2973" y="3485"/>
                  </a:lnTo>
                  <a:lnTo>
                    <a:pt x="2973" y="3485"/>
                  </a:lnTo>
                  <a:lnTo>
                    <a:pt x="2955" y="3497"/>
                  </a:lnTo>
                  <a:lnTo>
                    <a:pt x="2946" y="3502"/>
                  </a:lnTo>
                  <a:lnTo>
                    <a:pt x="2946" y="3502"/>
                  </a:lnTo>
                  <a:lnTo>
                    <a:pt x="2942" y="3506"/>
                  </a:lnTo>
                  <a:lnTo>
                    <a:pt x="2940" y="3510"/>
                  </a:lnTo>
                  <a:lnTo>
                    <a:pt x="2938" y="3515"/>
                  </a:lnTo>
                  <a:lnTo>
                    <a:pt x="2939" y="3520"/>
                  </a:lnTo>
                  <a:lnTo>
                    <a:pt x="2939" y="3520"/>
                  </a:lnTo>
                  <a:lnTo>
                    <a:pt x="2951" y="3575"/>
                  </a:lnTo>
                  <a:lnTo>
                    <a:pt x="2951" y="3575"/>
                  </a:lnTo>
                  <a:lnTo>
                    <a:pt x="2962" y="3630"/>
                  </a:lnTo>
                  <a:lnTo>
                    <a:pt x="2962" y="3630"/>
                  </a:lnTo>
                  <a:lnTo>
                    <a:pt x="2962" y="3635"/>
                  </a:lnTo>
                  <a:lnTo>
                    <a:pt x="2960" y="3641"/>
                  </a:lnTo>
                  <a:lnTo>
                    <a:pt x="2957" y="3645"/>
                  </a:lnTo>
                  <a:lnTo>
                    <a:pt x="2953" y="3649"/>
                  </a:lnTo>
                  <a:lnTo>
                    <a:pt x="2901" y="3675"/>
                  </a:lnTo>
                  <a:lnTo>
                    <a:pt x="2901" y="3675"/>
                  </a:lnTo>
                  <a:lnTo>
                    <a:pt x="2896" y="3676"/>
                  </a:lnTo>
                  <a:lnTo>
                    <a:pt x="2890" y="3676"/>
                  </a:lnTo>
                  <a:lnTo>
                    <a:pt x="2884" y="3674"/>
                  </a:lnTo>
                  <a:lnTo>
                    <a:pt x="2880" y="3671"/>
                  </a:lnTo>
                  <a:lnTo>
                    <a:pt x="2880" y="3671"/>
                  </a:lnTo>
                  <a:lnTo>
                    <a:pt x="2843" y="3630"/>
                  </a:lnTo>
                  <a:lnTo>
                    <a:pt x="2843" y="3630"/>
                  </a:lnTo>
                  <a:lnTo>
                    <a:pt x="2805" y="3588"/>
                  </a:lnTo>
                  <a:lnTo>
                    <a:pt x="2805" y="3588"/>
                  </a:lnTo>
                  <a:lnTo>
                    <a:pt x="2801" y="3584"/>
                  </a:lnTo>
                  <a:lnTo>
                    <a:pt x="2797" y="3583"/>
                  </a:lnTo>
                  <a:lnTo>
                    <a:pt x="2790" y="3582"/>
                  </a:lnTo>
                  <a:lnTo>
                    <a:pt x="2786" y="3583"/>
                  </a:lnTo>
                  <a:lnTo>
                    <a:pt x="2786" y="3583"/>
                  </a:lnTo>
                  <a:lnTo>
                    <a:pt x="2777" y="3587"/>
                  </a:lnTo>
                  <a:lnTo>
                    <a:pt x="2777" y="3587"/>
                  </a:lnTo>
                  <a:lnTo>
                    <a:pt x="2757" y="3597"/>
                  </a:lnTo>
                  <a:lnTo>
                    <a:pt x="2757" y="3597"/>
                  </a:lnTo>
                  <a:lnTo>
                    <a:pt x="2726" y="3609"/>
                  </a:lnTo>
                  <a:lnTo>
                    <a:pt x="2726" y="3609"/>
                  </a:lnTo>
                  <a:lnTo>
                    <a:pt x="2722" y="3611"/>
                  </a:lnTo>
                  <a:lnTo>
                    <a:pt x="2719" y="3615"/>
                  </a:lnTo>
                  <a:lnTo>
                    <a:pt x="2717" y="3620"/>
                  </a:lnTo>
                  <a:lnTo>
                    <a:pt x="2716" y="3625"/>
                  </a:lnTo>
                  <a:lnTo>
                    <a:pt x="2716" y="3625"/>
                  </a:lnTo>
                  <a:lnTo>
                    <a:pt x="2720" y="3681"/>
                  </a:lnTo>
                  <a:lnTo>
                    <a:pt x="2720" y="3681"/>
                  </a:lnTo>
                  <a:lnTo>
                    <a:pt x="2722" y="3738"/>
                  </a:lnTo>
                  <a:lnTo>
                    <a:pt x="2722" y="3738"/>
                  </a:lnTo>
                  <a:lnTo>
                    <a:pt x="2721" y="3743"/>
                  </a:lnTo>
                  <a:lnTo>
                    <a:pt x="2719" y="3747"/>
                  </a:lnTo>
                  <a:lnTo>
                    <a:pt x="2715" y="3751"/>
                  </a:lnTo>
                  <a:lnTo>
                    <a:pt x="2710" y="3754"/>
                  </a:lnTo>
                  <a:lnTo>
                    <a:pt x="2693" y="3759"/>
                  </a:lnTo>
                  <a:lnTo>
                    <a:pt x="2693" y="3759"/>
                  </a:lnTo>
                  <a:lnTo>
                    <a:pt x="2669" y="3767"/>
                  </a:lnTo>
                  <a:lnTo>
                    <a:pt x="2669" y="3767"/>
                  </a:lnTo>
                  <a:lnTo>
                    <a:pt x="2662" y="3770"/>
                  </a:lnTo>
                  <a:lnTo>
                    <a:pt x="2662" y="3770"/>
                  </a:lnTo>
                  <a:lnTo>
                    <a:pt x="2655" y="3772"/>
                  </a:lnTo>
                  <a:lnTo>
                    <a:pt x="2655" y="3772"/>
                  </a:lnTo>
                  <a:lnTo>
                    <a:pt x="2649" y="3772"/>
                  </a:lnTo>
                  <a:lnTo>
                    <a:pt x="2643" y="3771"/>
                  </a:lnTo>
                  <a:lnTo>
                    <a:pt x="2639" y="3769"/>
                  </a:lnTo>
                  <a:lnTo>
                    <a:pt x="2635" y="3765"/>
                  </a:lnTo>
                  <a:lnTo>
                    <a:pt x="2635" y="3765"/>
                  </a:lnTo>
                  <a:lnTo>
                    <a:pt x="2603" y="3718"/>
                  </a:lnTo>
                  <a:lnTo>
                    <a:pt x="2603" y="3718"/>
                  </a:lnTo>
                  <a:lnTo>
                    <a:pt x="2574" y="3671"/>
                  </a:lnTo>
                  <a:lnTo>
                    <a:pt x="2574" y="3671"/>
                  </a:lnTo>
                  <a:lnTo>
                    <a:pt x="2571" y="3667"/>
                  </a:lnTo>
                  <a:lnTo>
                    <a:pt x="2566" y="3665"/>
                  </a:lnTo>
                  <a:lnTo>
                    <a:pt x="2561" y="3664"/>
                  </a:lnTo>
                  <a:lnTo>
                    <a:pt x="2555" y="3664"/>
                  </a:lnTo>
                  <a:lnTo>
                    <a:pt x="2555" y="3664"/>
                  </a:lnTo>
                  <a:lnTo>
                    <a:pt x="2546" y="3667"/>
                  </a:lnTo>
                  <a:lnTo>
                    <a:pt x="2546" y="3667"/>
                  </a:lnTo>
                  <a:lnTo>
                    <a:pt x="2525" y="3672"/>
                  </a:lnTo>
                  <a:lnTo>
                    <a:pt x="2525" y="3672"/>
                  </a:lnTo>
                  <a:lnTo>
                    <a:pt x="2493" y="3679"/>
                  </a:lnTo>
                  <a:lnTo>
                    <a:pt x="2493" y="3679"/>
                  </a:lnTo>
                  <a:lnTo>
                    <a:pt x="2488" y="3681"/>
                  </a:lnTo>
                  <a:lnTo>
                    <a:pt x="2484" y="3684"/>
                  </a:lnTo>
                  <a:lnTo>
                    <a:pt x="2482" y="3690"/>
                  </a:lnTo>
                  <a:lnTo>
                    <a:pt x="2480" y="3695"/>
                  </a:lnTo>
                  <a:lnTo>
                    <a:pt x="2480" y="3695"/>
                  </a:lnTo>
                  <a:lnTo>
                    <a:pt x="2475" y="3750"/>
                  </a:lnTo>
                  <a:lnTo>
                    <a:pt x="2475" y="3750"/>
                  </a:lnTo>
                  <a:lnTo>
                    <a:pt x="2469" y="3805"/>
                  </a:lnTo>
                  <a:lnTo>
                    <a:pt x="2469" y="3805"/>
                  </a:lnTo>
                  <a:lnTo>
                    <a:pt x="2467" y="3810"/>
                  </a:lnTo>
                  <a:lnTo>
                    <a:pt x="2463" y="3815"/>
                  </a:lnTo>
                  <a:lnTo>
                    <a:pt x="2459" y="3818"/>
                  </a:lnTo>
                  <a:lnTo>
                    <a:pt x="2454" y="3820"/>
                  </a:lnTo>
                  <a:lnTo>
                    <a:pt x="2454" y="3820"/>
                  </a:lnTo>
                  <a:lnTo>
                    <a:pt x="2425" y="3825"/>
                  </a:lnTo>
                  <a:lnTo>
                    <a:pt x="2425" y="3825"/>
                  </a:lnTo>
                  <a:lnTo>
                    <a:pt x="2405" y="3829"/>
                  </a:lnTo>
                  <a:lnTo>
                    <a:pt x="2396" y="3830"/>
                  </a:lnTo>
                  <a:lnTo>
                    <a:pt x="2396" y="3830"/>
                  </a:lnTo>
                  <a:lnTo>
                    <a:pt x="2391" y="3829"/>
                  </a:lnTo>
                  <a:lnTo>
                    <a:pt x="2386" y="3828"/>
                  </a:lnTo>
                  <a:lnTo>
                    <a:pt x="2381" y="3823"/>
                  </a:lnTo>
                  <a:lnTo>
                    <a:pt x="2378" y="3819"/>
                  </a:lnTo>
                  <a:lnTo>
                    <a:pt x="2378" y="3819"/>
                  </a:lnTo>
                  <a:lnTo>
                    <a:pt x="2354" y="3768"/>
                  </a:lnTo>
                  <a:lnTo>
                    <a:pt x="2354" y="3768"/>
                  </a:lnTo>
                  <a:lnTo>
                    <a:pt x="2333" y="3717"/>
                  </a:lnTo>
                  <a:lnTo>
                    <a:pt x="2333" y="3717"/>
                  </a:lnTo>
                  <a:lnTo>
                    <a:pt x="2330" y="3713"/>
                  </a:lnTo>
                  <a:lnTo>
                    <a:pt x="2326" y="3710"/>
                  </a:lnTo>
                  <a:lnTo>
                    <a:pt x="2320" y="3708"/>
                  </a:lnTo>
                  <a:lnTo>
                    <a:pt x="2315" y="3707"/>
                  </a:lnTo>
                  <a:lnTo>
                    <a:pt x="2251" y="3712"/>
                  </a:lnTo>
                  <a:lnTo>
                    <a:pt x="2251" y="3712"/>
                  </a:lnTo>
                  <a:lnTo>
                    <a:pt x="2246" y="3714"/>
                  </a:lnTo>
                  <a:lnTo>
                    <a:pt x="2242" y="3716"/>
                  </a:lnTo>
                  <a:lnTo>
                    <a:pt x="2239" y="3720"/>
                  </a:lnTo>
                  <a:lnTo>
                    <a:pt x="2237" y="3725"/>
                  </a:lnTo>
                  <a:lnTo>
                    <a:pt x="2237" y="3725"/>
                  </a:lnTo>
                  <a:lnTo>
                    <a:pt x="2222" y="3779"/>
                  </a:lnTo>
                  <a:lnTo>
                    <a:pt x="2222" y="3779"/>
                  </a:lnTo>
                  <a:lnTo>
                    <a:pt x="2207" y="3833"/>
                  </a:lnTo>
                  <a:lnTo>
                    <a:pt x="2207" y="3833"/>
                  </a:lnTo>
                  <a:lnTo>
                    <a:pt x="2205" y="3838"/>
                  </a:lnTo>
                  <a:lnTo>
                    <a:pt x="2201" y="3842"/>
                  </a:lnTo>
                  <a:lnTo>
                    <a:pt x="2196" y="3844"/>
                  </a:lnTo>
                  <a:lnTo>
                    <a:pt x="2191" y="3845"/>
                  </a:lnTo>
                  <a:lnTo>
                    <a:pt x="2173" y="3846"/>
                  </a:lnTo>
                  <a:lnTo>
                    <a:pt x="2173" y="3846"/>
                  </a:lnTo>
                  <a:lnTo>
                    <a:pt x="2147" y="3846"/>
                  </a:lnTo>
                  <a:lnTo>
                    <a:pt x="2147" y="3846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A4A4A4"/>
                </a:gs>
                <a:gs pos="0">
                  <a:srgbClr val="CACACA"/>
                </a:gs>
              </a:gsLst>
              <a:lin ang="2400000" scaled="0"/>
              <a:tileRect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xmlns:mv="urn:schemas-microsoft-com:mac:vml" xmlns:mc="http://schemas.openxmlformats.org/markup-compatibility/2006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8" name="TextBox 1747"/>
            <p:cNvSpPr txBox="1"/>
            <p:nvPr/>
          </p:nvSpPr>
          <p:spPr>
            <a:xfrm>
              <a:off x="5782305" y="950155"/>
              <a:ext cx="5283234" cy="5278734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1472608"/>
                </a:avLst>
              </a:prstTxWarp>
              <a:spAutoFit/>
            </a:bodyPr>
            <a:lstStyle/>
            <a:p>
              <a:pPr algn="ctr" defTabSz="1218987"/>
              <a:r>
                <a:rPr lang="en-US" sz="2600" b="1" dirty="0">
                  <a:solidFill>
                    <a:prstClr val="white"/>
                  </a:solidFill>
                  <a:latin typeface="Arial" charset="0"/>
                  <a:ea typeface="Arial" charset="0"/>
                  <a:cs typeface="Arial" charset="0"/>
                </a:rPr>
                <a:t>MACHINE LEARNING  •  DEVELOPMENT  • OPERATIONS  </a:t>
              </a:r>
            </a:p>
          </p:txBody>
        </p:sp>
      </p:grpSp>
      <p:sp>
        <p:nvSpPr>
          <p:cNvPr id="1750" name="Freeform 174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/>
        </p:nvSpPr>
        <p:spPr bwMode="auto">
          <a:xfrm>
            <a:off x="8408780" y="4108860"/>
            <a:ext cx="753844" cy="748129"/>
          </a:xfrm>
          <a:custGeom>
            <a:avLst/>
            <a:gdLst>
              <a:gd name="T0" fmla="*/ 3835 w 4353"/>
              <a:gd name="T1" fmla="*/ 2154 h 4320"/>
              <a:gd name="T2" fmla="*/ 3385 w 4353"/>
              <a:gd name="T3" fmla="*/ 2028 h 4320"/>
              <a:gd name="T4" fmla="*/ 3316 w 4353"/>
              <a:gd name="T5" fmla="*/ 1787 h 4320"/>
              <a:gd name="T6" fmla="*/ 3291 w 4353"/>
              <a:gd name="T7" fmla="*/ 1525 h 4320"/>
              <a:gd name="T8" fmla="*/ 3663 w 4353"/>
              <a:gd name="T9" fmla="*/ 1142 h 4320"/>
              <a:gd name="T10" fmla="*/ 3870 w 4353"/>
              <a:gd name="T11" fmla="*/ 780 h 4320"/>
              <a:gd name="T12" fmla="*/ 3587 w 4353"/>
              <a:gd name="T13" fmla="*/ 485 h 4320"/>
              <a:gd name="T14" fmla="*/ 3368 w 4353"/>
              <a:gd name="T15" fmla="*/ 394 h 4320"/>
              <a:gd name="T16" fmla="*/ 2799 w 4353"/>
              <a:gd name="T17" fmla="*/ 950 h 4320"/>
              <a:gd name="T18" fmla="*/ 2633 w 4353"/>
              <a:gd name="T19" fmla="*/ 1048 h 4320"/>
              <a:gd name="T20" fmla="*/ 2267 w 4353"/>
              <a:gd name="T21" fmla="*/ 963 h 4320"/>
              <a:gd name="T22" fmla="*/ 2162 w 4353"/>
              <a:gd name="T23" fmla="*/ 801 h 4320"/>
              <a:gd name="T24" fmla="*/ 1902 w 4353"/>
              <a:gd name="T25" fmla="*/ 47 h 4320"/>
              <a:gd name="T26" fmla="*/ 1609 w 4353"/>
              <a:gd name="T27" fmla="*/ 44 h 4320"/>
              <a:gd name="T28" fmla="*/ 1269 w 4353"/>
              <a:gd name="T29" fmla="*/ 178 h 4320"/>
              <a:gd name="T30" fmla="*/ 1306 w 4353"/>
              <a:gd name="T31" fmla="*/ 595 h 4320"/>
              <a:gd name="T32" fmla="*/ 1467 w 4353"/>
              <a:gd name="T33" fmla="*/ 1107 h 4320"/>
              <a:gd name="T34" fmla="*/ 1347 w 4353"/>
              <a:gd name="T35" fmla="*/ 1294 h 4320"/>
              <a:gd name="T36" fmla="*/ 1208 w 4353"/>
              <a:gd name="T37" fmla="*/ 1452 h 4320"/>
              <a:gd name="T38" fmla="*/ 1071 w 4353"/>
              <a:gd name="T39" fmla="*/ 1513 h 4320"/>
              <a:gd name="T40" fmla="*/ 559 w 4353"/>
              <a:gd name="T41" fmla="*/ 1384 h 4320"/>
              <a:gd name="T42" fmla="*/ 169 w 4353"/>
              <a:gd name="T43" fmla="*/ 1354 h 4320"/>
              <a:gd name="T44" fmla="*/ 44 w 4353"/>
              <a:gd name="T45" fmla="*/ 1657 h 4320"/>
              <a:gd name="T46" fmla="*/ 31 w 4353"/>
              <a:gd name="T47" fmla="*/ 1996 h 4320"/>
              <a:gd name="T48" fmla="*/ 451 w 4353"/>
              <a:gd name="T49" fmla="*/ 2149 h 4320"/>
              <a:gd name="T50" fmla="*/ 929 w 4353"/>
              <a:gd name="T51" fmla="*/ 2259 h 4320"/>
              <a:gd name="T52" fmla="*/ 1000 w 4353"/>
              <a:gd name="T53" fmla="*/ 2395 h 4320"/>
              <a:gd name="T54" fmla="*/ 1094 w 4353"/>
              <a:gd name="T55" fmla="*/ 2694 h 4320"/>
              <a:gd name="T56" fmla="*/ 892 w 4353"/>
              <a:gd name="T57" fmla="*/ 2960 h 4320"/>
              <a:gd name="T58" fmla="*/ 478 w 4353"/>
              <a:gd name="T59" fmla="*/ 3467 h 4320"/>
              <a:gd name="T60" fmla="*/ 666 w 4353"/>
              <a:gd name="T61" fmla="*/ 3747 h 4320"/>
              <a:gd name="T62" fmla="*/ 962 w 4353"/>
              <a:gd name="T63" fmla="*/ 3937 h 4320"/>
              <a:gd name="T64" fmla="*/ 1408 w 4353"/>
              <a:gd name="T65" fmla="*/ 3542 h 4320"/>
              <a:gd name="T66" fmla="*/ 1687 w 4353"/>
              <a:gd name="T67" fmla="*/ 3273 h 4320"/>
              <a:gd name="T68" fmla="*/ 2065 w 4353"/>
              <a:gd name="T69" fmla="*/ 3354 h 4320"/>
              <a:gd name="T70" fmla="*/ 2178 w 4353"/>
              <a:gd name="T71" fmla="*/ 3462 h 4320"/>
              <a:gd name="T72" fmla="*/ 2374 w 4353"/>
              <a:gd name="T73" fmla="*/ 4107 h 4320"/>
              <a:gd name="T74" fmla="*/ 2653 w 4353"/>
              <a:gd name="T75" fmla="*/ 4299 h 4320"/>
              <a:gd name="T76" fmla="*/ 3051 w 4353"/>
              <a:gd name="T77" fmla="*/ 4169 h 4320"/>
              <a:gd name="T78" fmla="*/ 3080 w 4353"/>
              <a:gd name="T79" fmla="*/ 3879 h 4320"/>
              <a:gd name="T80" fmla="*/ 2893 w 4353"/>
              <a:gd name="T81" fmla="*/ 3249 h 4320"/>
              <a:gd name="T82" fmla="*/ 2977 w 4353"/>
              <a:gd name="T83" fmla="*/ 3054 h 4320"/>
              <a:gd name="T84" fmla="*/ 3146 w 4353"/>
              <a:gd name="T85" fmla="*/ 2869 h 4320"/>
              <a:gd name="T86" fmla="*/ 3256 w 4353"/>
              <a:gd name="T87" fmla="*/ 2808 h 4320"/>
              <a:gd name="T88" fmla="*/ 3795 w 4353"/>
              <a:gd name="T89" fmla="*/ 2937 h 4320"/>
              <a:gd name="T90" fmla="*/ 4209 w 4353"/>
              <a:gd name="T91" fmla="*/ 2949 h 4320"/>
              <a:gd name="T92" fmla="*/ 4353 w 4353"/>
              <a:gd name="T93" fmla="*/ 2417 h 4320"/>
              <a:gd name="T94" fmla="*/ 2176 w 4353"/>
              <a:gd name="T95" fmla="*/ 2650 h 4320"/>
              <a:gd name="T96" fmla="*/ 1903 w 4353"/>
              <a:gd name="T97" fmla="*/ 2566 h 4320"/>
              <a:gd name="T98" fmla="*/ 1727 w 4353"/>
              <a:gd name="T99" fmla="*/ 2351 h 4320"/>
              <a:gd name="T100" fmla="*/ 1694 w 4353"/>
              <a:gd name="T101" fmla="*/ 2085 h 4320"/>
              <a:gd name="T102" fmla="*/ 1815 w 4353"/>
              <a:gd name="T103" fmla="*/ 1832 h 4320"/>
              <a:gd name="T104" fmla="*/ 2055 w 4353"/>
              <a:gd name="T105" fmla="*/ 1687 h 4320"/>
              <a:gd name="T106" fmla="*/ 2323 w 4353"/>
              <a:gd name="T107" fmla="*/ 1693 h 4320"/>
              <a:gd name="T108" fmla="*/ 2555 w 4353"/>
              <a:gd name="T109" fmla="*/ 1849 h 4320"/>
              <a:gd name="T110" fmla="*/ 2663 w 4353"/>
              <a:gd name="T111" fmla="*/ 2111 h 4320"/>
              <a:gd name="T112" fmla="*/ 2617 w 4353"/>
              <a:gd name="T113" fmla="*/ 2373 h 4320"/>
              <a:gd name="T114" fmla="*/ 2431 w 4353"/>
              <a:gd name="T115" fmla="*/ 2579 h 4320"/>
              <a:gd name="T116" fmla="*/ 2176 w 4353"/>
              <a:gd name="T117" fmla="*/ 265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353" h="4320">
                <a:moveTo>
                  <a:pt x="4303" y="2310"/>
                </a:moveTo>
                <a:lnTo>
                  <a:pt x="4303" y="2310"/>
                </a:lnTo>
                <a:lnTo>
                  <a:pt x="4269" y="2296"/>
                </a:lnTo>
                <a:lnTo>
                  <a:pt x="4230" y="2280"/>
                </a:lnTo>
                <a:lnTo>
                  <a:pt x="4180" y="2260"/>
                </a:lnTo>
                <a:lnTo>
                  <a:pt x="4180" y="2260"/>
                </a:lnTo>
                <a:lnTo>
                  <a:pt x="4112" y="2236"/>
                </a:lnTo>
                <a:lnTo>
                  <a:pt x="4042" y="2213"/>
                </a:lnTo>
                <a:lnTo>
                  <a:pt x="3971" y="2191"/>
                </a:lnTo>
                <a:lnTo>
                  <a:pt x="3903" y="2172"/>
                </a:lnTo>
                <a:lnTo>
                  <a:pt x="3903" y="2172"/>
                </a:lnTo>
                <a:lnTo>
                  <a:pt x="3835" y="2154"/>
                </a:lnTo>
                <a:lnTo>
                  <a:pt x="3765" y="2137"/>
                </a:lnTo>
                <a:lnTo>
                  <a:pt x="3694" y="2121"/>
                </a:lnTo>
                <a:lnTo>
                  <a:pt x="3627" y="2108"/>
                </a:lnTo>
                <a:lnTo>
                  <a:pt x="3498" y="2088"/>
                </a:lnTo>
                <a:lnTo>
                  <a:pt x="3498" y="2088"/>
                </a:lnTo>
                <a:lnTo>
                  <a:pt x="3475" y="2084"/>
                </a:lnTo>
                <a:lnTo>
                  <a:pt x="3452" y="2077"/>
                </a:lnTo>
                <a:lnTo>
                  <a:pt x="3429" y="2065"/>
                </a:lnTo>
                <a:lnTo>
                  <a:pt x="3410" y="2053"/>
                </a:lnTo>
                <a:lnTo>
                  <a:pt x="3401" y="2045"/>
                </a:lnTo>
                <a:lnTo>
                  <a:pt x="3392" y="2037"/>
                </a:lnTo>
                <a:lnTo>
                  <a:pt x="3385" y="2028"/>
                </a:lnTo>
                <a:lnTo>
                  <a:pt x="3378" y="2020"/>
                </a:lnTo>
                <a:lnTo>
                  <a:pt x="3373" y="2010"/>
                </a:lnTo>
                <a:lnTo>
                  <a:pt x="3368" y="2000"/>
                </a:lnTo>
                <a:lnTo>
                  <a:pt x="3365" y="1989"/>
                </a:lnTo>
                <a:lnTo>
                  <a:pt x="3363" y="1977"/>
                </a:lnTo>
                <a:lnTo>
                  <a:pt x="3363" y="1977"/>
                </a:lnTo>
                <a:lnTo>
                  <a:pt x="3360" y="1956"/>
                </a:lnTo>
                <a:lnTo>
                  <a:pt x="3351" y="1919"/>
                </a:lnTo>
                <a:lnTo>
                  <a:pt x="3340" y="1869"/>
                </a:lnTo>
                <a:lnTo>
                  <a:pt x="3326" y="1816"/>
                </a:lnTo>
                <a:lnTo>
                  <a:pt x="3316" y="1787"/>
                </a:lnTo>
                <a:lnTo>
                  <a:pt x="3316" y="1787"/>
                </a:lnTo>
                <a:lnTo>
                  <a:pt x="3303" y="1745"/>
                </a:lnTo>
                <a:lnTo>
                  <a:pt x="3296" y="1727"/>
                </a:lnTo>
                <a:lnTo>
                  <a:pt x="3289" y="1713"/>
                </a:lnTo>
                <a:lnTo>
                  <a:pt x="3266" y="1659"/>
                </a:lnTo>
                <a:lnTo>
                  <a:pt x="3266" y="1659"/>
                </a:lnTo>
                <a:lnTo>
                  <a:pt x="3262" y="1640"/>
                </a:lnTo>
                <a:lnTo>
                  <a:pt x="3260" y="1620"/>
                </a:lnTo>
                <a:lnTo>
                  <a:pt x="3260" y="1602"/>
                </a:lnTo>
                <a:lnTo>
                  <a:pt x="3264" y="1582"/>
                </a:lnTo>
                <a:lnTo>
                  <a:pt x="3270" y="1562"/>
                </a:lnTo>
                <a:lnTo>
                  <a:pt x="3280" y="1543"/>
                </a:lnTo>
                <a:lnTo>
                  <a:pt x="3291" y="1525"/>
                </a:lnTo>
                <a:lnTo>
                  <a:pt x="3304" y="1508"/>
                </a:lnTo>
                <a:lnTo>
                  <a:pt x="3304" y="1506"/>
                </a:lnTo>
                <a:lnTo>
                  <a:pt x="3320" y="1492"/>
                </a:lnTo>
                <a:lnTo>
                  <a:pt x="3320" y="1492"/>
                </a:lnTo>
                <a:lnTo>
                  <a:pt x="3360" y="1457"/>
                </a:lnTo>
                <a:lnTo>
                  <a:pt x="3431" y="1391"/>
                </a:lnTo>
                <a:lnTo>
                  <a:pt x="3474" y="1350"/>
                </a:lnTo>
                <a:lnTo>
                  <a:pt x="3519" y="1303"/>
                </a:lnTo>
                <a:lnTo>
                  <a:pt x="3566" y="1253"/>
                </a:lnTo>
                <a:lnTo>
                  <a:pt x="3613" y="1201"/>
                </a:lnTo>
                <a:lnTo>
                  <a:pt x="3613" y="1201"/>
                </a:lnTo>
                <a:lnTo>
                  <a:pt x="3663" y="1142"/>
                </a:lnTo>
                <a:lnTo>
                  <a:pt x="3710" y="1084"/>
                </a:lnTo>
                <a:lnTo>
                  <a:pt x="3754" y="1028"/>
                </a:lnTo>
                <a:lnTo>
                  <a:pt x="3792" y="977"/>
                </a:lnTo>
                <a:lnTo>
                  <a:pt x="3848" y="898"/>
                </a:lnTo>
                <a:lnTo>
                  <a:pt x="3870" y="866"/>
                </a:lnTo>
                <a:lnTo>
                  <a:pt x="3870" y="866"/>
                </a:lnTo>
                <a:lnTo>
                  <a:pt x="3876" y="855"/>
                </a:lnTo>
                <a:lnTo>
                  <a:pt x="3879" y="842"/>
                </a:lnTo>
                <a:lnTo>
                  <a:pt x="3880" y="826"/>
                </a:lnTo>
                <a:lnTo>
                  <a:pt x="3879" y="811"/>
                </a:lnTo>
                <a:lnTo>
                  <a:pt x="3876" y="795"/>
                </a:lnTo>
                <a:lnTo>
                  <a:pt x="3870" y="780"/>
                </a:lnTo>
                <a:lnTo>
                  <a:pt x="3862" y="764"/>
                </a:lnTo>
                <a:lnTo>
                  <a:pt x="3853" y="750"/>
                </a:lnTo>
                <a:lnTo>
                  <a:pt x="3802" y="688"/>
                </a:lnTo>
                <a:lnTo>
                  <a:pt x="3802" y="688"/>
                </a:lnTo>
                <a:lnTo>
                  <a:pt x="3758" y="643"/>
                </a:lnTo>
                <a:lnTo>
                  <a:pt x="3705" y="590"/>
                </a:lnTo>
                <a:lnTo>
                  <a:pt x="3680" y="565"/>
                </a:lnTo>
                <a:lnTo>
                  <a:pt x="3680" y="565"/>
                </a:lnTo>
                <a:lnTo>
                  <a:pt x="3657" y="543"/>
                </a:lnTo>
                <a:lnTo>
                  <a:pt x="3634" y="522"/>
                </a:lnTo>
                <a:lnTo>
                  <a:pt x="3587" y="485"/>
                </a:lnTo>
                <a:lnTo>
                  <a:pt x="3587" y="485"/>
                </a:lnTo>
                <a:lnTo>
                  <a:pt x="3547" y="451"/>
                </a:lnTo>
                <a:lnTo>
                  <a:pt x="3485" y="401"/>
                </a:lnTo>
                <a:lnTo>
                  <a:pt x="3485" y="401"/>
                </a:lnTo>
                <a:lnTo>
                  <a:pt x="3471" y="393"/>
                </a:lnTo>
                <a:lnTo>
                  <a:pt x="3455" y="387"/>
                </a:lnTo>
                <a:lnTo>
                  <a:pt x="3439" y="383"/>
                </a:lnTo>
                <a:lnTo>
                  <a:pt x="3422" y="381"/>
                </a:lnTo>
                <a:lnTo>
                  <a:pt x="3407" y="381"/>
                </a:lnTo>
                <a:lnTo>
                  <a:pt x="3392" y="384"/>
                </a:lnTo>
                <a:lnTo>
                  <a:pt x="3380" y="388"/>
                </a:lnTo>
                <a:lnTo>
                  <a:pt x="3368" y="394"/>
                </a:lnTo>
                <a:lnTo>
                  <a:pt x="3368" y="394"/>
                </a:lnTo>
                <a:lnTo>
                  <a:pt x="3338" y="417"/>
                </a:lnTo>
                <a:lnTo>
                  <a:pt x="3263" y="478"/>
                </a:lnTo>
                <a:lnTo>
                  <a:pt x="3215" y="518"/>
                </a:lnTo>
                <a:lnTo>
                  <a:pt x="3162" y="565"/>
                </a:lnTo>
                <a:lnTo>
                  <a:pt x="3107" y="616"/>
                </a:lnTo>
                <a:lnTo>
                  <a:pt x="3050" y="670"/>
                </a:lnTo>
                <a:lnTo>
                  <a:pt x="3050" y="670"/>
                </a:lnTo>
                <a:lnTo>
                  <a:pt x="2996" y="725"/>
                </a:lnTo>
                <a:lnTo>
                  <a:pt x="2944" y="780"/>
                </a:lnTo>
                <a:lnTo>
                  <a:pt x="2899" y="832"/>
                </a:lnTo>
                <a:lnTo>
                  <a:pt x="2858" y="879"/>
                </a:lnTo>
                <a:lnTo>
                  <a:pt x="2799" y="950"/>
                </a:lnTo>
                <a:lnTo>
                  <a:pt x="2777" y="979"/>
                </a:lnTo>
                <a:lnTo>
                  <a:pt x="2777" y="979"/>
                </a:lnTo>
                <a:lnTo>
                  <a:pt x="2761" y="997"/>
                </a:lnTo>
                <a:lnTo>
                  <a:pt x="2742" y="1013"/>
                </a:lnTo>
                <a:lnTo>
                  <a:pt x="2722" y="1027"/>
                </a:lnTo>
                <a:lnTo>
                  <a:pt x="2701" y="1038"/>
                </a:lnTo>
                <a:lnTo>
                  <a:pt x="2690" y="1043"/>
                </a:lnTo>
                <a:lnTo>
                  <a:pt x="2678" y="1046"/>
                </a:lnTo>
                <a:lnTo>
                  <a:pt x="2667" y="1048"/>
                </a:lnTo>
                <a:lnTo>
                  <a:pt x="2656" y="1050"/>
                </a:lnTo>
                <a:lnTo>
                  <a:pt x="2644" y="1050"/>
                </a:lnTo>
                <a:lnTo>
                  <a:pt x="2633" y="1048"/>
                </a:lnTo>
                <a:lnTo>
                  <a:pt x="2622" y="1047"/>
                </a:lnTo>
                <a:lnTo>
                  <a:pt x="2612" y="1043"/>
                </a:lnTo>
                <a:lnTo>
                  <a:pt x="2612" y="1043"/>
                </a:lnTo>
                <a:lnTo>
                  <a:pt x="2596" y="1036"/>
                </a:lnTo>
                <a:lnTo>
                  <a:pt x="2583" y="1031"/>
                </a:lnTo>
                <a:lnTo>
                  <a:pt x="2566" y="1026"/>
                </a:lnTo>
                <a:lnTo>
                  <a:pt x="2404" y="983"/>
                </a:lnTo>
                <a:lnTo>
                  <a:pt x="2337" y="970"/>
                </a:lnTo>
                <a:lnTo>
                  <a:pt x="2289" y="967"/>
                </a:lnTo>
                <a:lnTo>
                  <a:pt x="2289" y="967"/>
                </a:lnTo>
                <a:lnTo>
                  <a:pt x="2277" y="966"/>
                </a:lnTo>
                <a:lnTo>
                  <a:pt x="2267" y="963"/>
                </a:lnTo>
                <a:lnTo>
                  <a:pt x="2257" y="959"/>
                </a:lnTo>
                <a:lnTo>
                  <a:pt x="2247" y="953"/>
                </a:lnTo>
                <a:lnTo>
                  <a:pt x="2237" y="947"/>
                </a:lnTo>
                <a:lnTo>
                  <a:pt x="2229" y="940"/>
                </a:lnTo>
                <a:lnTo>
                  <a:pt x="2220" y="932"/>
                </a:lnTo>
                <a:lnTo>
                  <a:pt x="2212" y="923"/>
                </a:lnTo>
                <a:lnTo>
                  <a:pt x="2198" y="903"/>
                </a:lnTo>
                <a:lnTo>
                  <a:pt x="2186" y="882"/>
                </a:lnTo>
                <a:lnTo>
                  <a:pt x="2176" y="859"/>
                </a:lnTo>
                <a:lnTo>
                  <a:pt x="2171" y="836"/>
                </a:lnTo>
                <a:lnTo>
                  <a:pt x="2171" y="836"/>
                </a:lnTo>
                <a:lnTo>
                  <a:pt x="2162" y="801"/>
                </a:lnTo>
                <a:lnTo>
                  <a:pt x="2142" y="710"/>
                </a:lnTo>
                <a:lnTo>
                  <a:pt x="2127" y="649"/>
                </a:lnTo>
                <a:lnTo>
                  <a:pt x="2109" y="582"/>
                </a:lnTo>
                <a:lnTo>
                  <a:pt x="2088" y="511"/>
                </a:lnTo>
                <a:lnTo>
                  <a:pt x="2064" y="437"/>
                </a:lnTo>
                <a:lnTo>
                  <a:pt x="2064" y="437"/>
                </a:lnTo>
                <a:lnTo>
                  <a:pt x="2034" y="351"/>
                </a:lnTo>
                <a:lnTo>
                  <a:pt x="2004" y="276"/>
                </a:lnTo>
                <a:lnTo>
                  <a:pt x="1979" y="213"/>
                </a:lnTo>
                <a:lnTo>
                  <a:pt x="1959" y="168"/>
                </a:lnTo>
                <a:lnTo>
                  <a:pt x="1902" y="47"/>
                </a:lnTo>
                <a:lnTo>
                  <a:pt x="1902" y="47"/>
                </a:lnTo>
                <a:lnTo>
                  <a:pt x="1896" y="37"/>
                </a:lnTo>
                <a:lnTo>
                  <a:pt x="1886" y="27"/>
                </a:lnTo>
                <a:lnTo>
                  <a:pt x="1875" y="18"/>
                </a:lnTo>
                <a:lnTo>
                  <a:pt x="1861" y="11"/>
                </a:lnTo>
                <a:lnTo>
                  <a:pt x="1845" y="6"/>
                </a:lnTo>
                <a:lnTo>
                  <a:pt x="1829" y="1"/>
                </a:lnTo>
                <a:lnTo>
                  <a:pt x="1812" y="0"/>
                </a:lnTo>
                <a:lnTo>
                  <a:pt x="1795" y="1"/>
                </a:lnTo>
                <a:lnTo>
                  <a:pt x="1785" y="4"/>
                </a:lnTo>
                <a:lnTo>
                  <a:pt x="1785" y="4"/>
                </a:lnTo>
                <a:lnTo>
                  <a:pt x="1674" y="28"/>
                </a:lnTo>
                <a:lnTo>
                  <a:pt x="1609" y="44"/>
                </a:lnTo>
                <a:lnTo>
                  <a:pt x="1576" y="53"/>
                </a:lnTo>
                <a:lnTo>
                  <a:pt x="1565" y="55"/>
                </a:lnTo>
                <a:lnTo>
                  <a:pt x="1559" y="58"/>
                </a:lnTo>
                <a:lnTo>
                  <a:pt x="1431" y="100"/>
                </a:lnTo>
                <a:lnTo>
                  <a:pt x="1431" y="100"/>
                </a:lnTo>
                <a:lnTo>
                  <a:pt x="1387" y="117"/>
                </a:lnTo>
                <a:lnTo>
                  <a:pt x="1348" y="132"/>
                </a:lnTo>
                <a:lnTo>
                  <a:pt x="1310" y="148"/>
                </a:lnTo>
                <a:lnTo>
                  <a:pt x="1310" y="148"/>
                </a:lnTo>
                <a:lnTo>
                  <a:pt x="1294" y="156"/>
                </a:lnTo>
                <a:lnTo>
                  <a:pt x="1282" y="166"/>
                </a:lnTo>
                <a:lnTo>
                  <a:pt x="1269" y="178"/>
                </a:lnTo>
                <a:lnTo>
                  <a:pt x="1259" y="191"/>
                </a:lnTo>
                <a:lnTo>
                  <a:pt x="1252" y="205"/>
                </a:lnTo>
                <a:lnTo>
                  <a:pt x="1246" y="218"/>
                </a:lnTo>
                <a:lnTo>
                  <a:pt x="1243" y="230"/>
                </a:lnTo>
                <a:lnTo>
                  <a:pt x="1243" y="243"/>
                </a:lnTo>
                <a:lnTo>
                  <a:pt x="1243" y="249"/>
                </a:lnTo>
                <a:lnTo>
                  <a:pt x="1243" y="249"/>
                </a:lnTo>
                <a:lnTo>
                  <a:pt x="1253" y="312"/>
                </a:lnTo>
                <a:lnTo>
                  <a:pt x="1269" y="410"/>
                </a:lnTo>
                <a:lnTo>
                  <a:pt x="1279" y="468"/>
                </a:lnTo>
                <a:lnTo>
                  <a:pt x="1292" y="529"/>
                </a:lnTo>
                <a:lnTo>
                  <a:pt x="1306" y="595"/>
                </a:lnTo>
                <a:lnTo>
                  <a:pt x="1323" y="659"/>
                </a:lnTo>
                <a:lnTo>
                  <a:pt x="1323" y="659"/>
                </a:lnTo>
                <a:lnTo>
                  <a:pt x="1341" y="730"/>
                </a:lnTo>
                <a:lnTo>
                  <a:pt x="1363" y="798"/>
                </a:lnTo>
                <a:lnTo>
                  <a:pt x="1384" y="862"/>
                </a:lnTo>
                <a:lnTo>
                  <a:pt x="1404" y="919"/>
                </a:lnTo>
                <a:lnTo>
                  <a:pt x="1437" y="1009"/>
                </a:lnTo>
                <a:lnTo>
                  <a:pt x="1454" y="1051"/>
                </a:lnTo>
                <a:lnTo>
                  <a:pt x="1457" y="1060"/>
                </a:lnTo>
                <a:lnTo>
                  <a:pt x="1457" y="1060"/>
                </a:lnTo>
                <a:lnTo>
                  <a:pt x="1464" y="1082"/>
                </a:lnTo>
                <a:lnTo>
                  <a:pt x="1467" y="1107"/>
                </a:lnTo>
                <a:lnTo>
                  <a:pt x="1468" y="1129"/>
                </a:lnTo>
                <a:lnTo>
                  <a:pt x="1465" y="1151"/>
                </a:lnTo>
                <a:lnTo>
                  <a:pt x="1459" y="1172"/>
                </a:lnTo>
                <a:lnTo>
                  <a:pt x="1452" y="1191"/>
                </a:lnTo>
                <a:lnTo>
                  <a:pt x="1448" y="1201"/>
                </a:lnTo>
                <a:lnTo>
                  <a:pt x="1442" y="1209"/>
                </a:lnTo>
                <a:lnTo>
                  <a:pt x="1437" y="1216"/>
                </a:lnTo>
                <a:lnTo>
                  <a:pt x="1430" y="1223"/>
                </a:lnTo>
                <a:lnTo>
                  <a:pt x="1430" y="1223"/>
                </a:lnTo>
                <a:lnTo>
                  <a:pt x="1415" y="1233"/>
                </a:lnTo>
                <a:lnTo>
                  <a:pt x="1385" y="1259"/>
                </a:lnTo>
                <a:lnTo>
                  <a:pt x="1347" y="1294"/>
                </a:lnTo>
                <a:lnTo>
                  <a:pt x="1326" y="1316"/>
                </a:lnTo>
                <a:lnTo>
                  <a:pt x="1304" y="1337"/>
                </a:lnTo>
                <a:lnTo>
                  <a:pt x="1304" y="1337"/>
                </a:lnTo>
                <a:lnTo>
                  <a:pt x="1290" y="1351"/>
                </a:lnTo>
                <a:lnTo>
                  <a:pt x="1277" y="1366"/>
                </a:lnTo>
                <a:lnTo>
                  <a:pt x="1255" y="1393"/>
                </a:lnTo>
                <a:lnTo>
                  <a:pt x="1255" y="1393"/>
                </a:lnTo>
                <a:lnTo>
                  <a:pt x="1240" y="1411"/>
                </a:lnTo>
                <a:lnTo>
                  <a:pt x="1226" y="1428"/>
                </a:lnTo>
                <a:lnTo>
                  <a:pt x="1226" y="1428"/>
                </a:lnTo>
                <a:lnTo>
                  <a:pt x="1215" y="1441"/>
                </a:lnTo>
                <a:lnTo>
                  <a:pt x="1208" y="1452"/>
                </a:lnTo>
                <a:lnTo>
                  <a:pt x="1201" y="1462"/>
                </a:lnTo>
                <a:lnTo>
                  <a:pt x="1201" y="1462"/>
                </a:lnTo>
                <a:lnTo>
                  <a:pt x="1195" y="1471"/>
                </a:lnTo>
                <a:lnTo>
                  <a:pt x="1188" y="1478"/>
                </a:lnTo>
                <a:lnTo>
                  <a:pt x="1181" y="1485"/>
                </a:lnTo>
                <a:lnTo>
                  <a:pt x="1172" y="1492"/>
                </a:lnTo>
                <a:lnTo>
                  <a:pt x="1164" y="1496"/>
                </a:lnTo>
                <a:lnTo>
                  <a:pt x="1154" y="1501"/>
                </a:lnTo>
                <a:lnTo>
                  <a:pt x="1134" y="1508"/>
                </a:lnTo>
                <a:lnTo>
                  <a:pt x="1114" y="1512"/>
                </a:lnTo>
                <a:lnTo>
                  <a:pt x="1092" y="1513"/>
                </a:lnTo>
                <a:lnTo>
                  <a:pt x="1071" y="1513"/>
                </a:lnTo>
                <a:lnTo>
                  <a:pt x="1050" y="1509"/>
                </a:lnTo>
                <a:lnTo>
                  <a:pt x="1048" y="1511"/>
                </a:lnTo>
                <a:lnTo>
                  <a:pt x="1026" y="1504"/>
                </a:lnTo>
                <a:lnTo>
                  <a:pt x="1026" y="1504"/>
                </a:lnTo>
                <a:lnTo>
                  <a:pt x="974" y="1486"/>
                </a:lnTo>
                <a:lnTo>
                  <a:pt x="883" y="1459"/>
                </a:lnTo>
                <a:lnTo>
                  <a:pt x="826" y="1444"/>
                </a:lnTo>
                <a:lnTo>
                  <a:pt x="764" y="1427"/>
                </a:lnTo>
                <a:lnTo>
                  <a:pt x="697" y="1411"/>
                </a:lnTo>
                <a:lnTo>
                  <a:pt x="629" y="1397"/>
                </a:lnTo>
                <a:lnTo>
                  <a:pt x="629" y="1397"/>
                </a:lnTo>
                <a:lnTo>
                  <a:pt x="559" y="1384"/>
                </a:lnTo>
                <a:lnTo>
                  <a:pt x="489" y="1373"/>
                </a:lnTo>
                <a:lnTo>
                  <a:pt x="424" y="1363"/>
                </a:lnTo>
                <a:lnTo>
                  <a:pt x="364" y="1356"/>
                </a:lnTo>
                <a:lnTo>
                  <a:pt x="266" y="1346"/>
                </a:lnTo>
                <a:lnTo>
                  <a:pt x="212" y="1341"/>
                </a:lnTo>
                <a:lnTo>
                  <a:pt x="209" y="1341"/>
                </a:lnTo>
                <a:lnTo>
                  <a:pt x="209" y="1341"/>
                </a:lnTo>
                <a:lnTo>
                  <a:pt x="208" y="1341"/>
                </a:lnTo>
                <a:lnTo>
                  <a:pt x="208" y="1341"/>
                </a:lnTo>
                <a:lnTo>
                  <a:pt x="195" y="1343"/>
                </a:lnTo>
                <a:lnTo>
                  <a:pt x="182" y="1347"/>
                </a:lnTo>
                <a:lnTo>
                  <a:pt x="169" y="1354"/>
                </a:lnTo>
                <a:lnTo>
                  <a:pt x="156" y="1363"/>
                </a:lnTo>
                <a:lnTo>
                  <a:pt x="144" y="1373"/>
                </a:lnTo>
                <a:lnTo>
                  <a:pt x="132" y="1385"/>
                </a:lnTo>
                <a:lnTo>
                  <a:pt x="124" y="1400"/>
                </a:lnTo>
                <a:lnTo>
                  <a:pt x="115" y="1415"/>
                </a:lnTo>
                <a:lnTo>
                  <a:pt x="115" y="1415"/>
                </a:lnTo>
                <a:lnTo>
                  <a:pt x="108" y="1435"/>
                </a:lnTo>
                <a:lnTo>
                  <a:pt x="92" y="1488"/>
                </a:lnTo>
                <a:lnTo>
                  <a:pt x="81" y="1526"/>
                </a:lnTo>
                <a:lnTo>
                  <a:pt x="81" y="1526"/>
                </a:lnTo>
                <a:lnTo>
                  <a:pt x="63" y="1589"/>
                </a:lnTo>
                <a:lnTo>
                  <a:pt x="44" y="1657"/>
                </a:lnTo>
                <a:lnTo>
                  <a:pt x="11" y="1828"/>
                </a:lnTo>
                <a:lnTo>
                  <a:pt x="11" y="1828"/>
                </a:lnTo>
                <a:lnTo>
                  <a:pt x="6" y="1856"/>
                </a:lnTo>
                <a:lnTo>
                  <a:pt x="3" y="1879"/>
                </a:lnTo>
                <a:lnTo>
                  <a:pt x="1" y="1900"/>
                </a:lnTo>
                <a:lnTo>
                  <a:pt x="1" y="1900"/>
                </a:lnTo>
                <a:lnTo>
                  <a:pt x="0" y="1920"/>
                </a:lnTo>
                <a:lnTo>
                  <a:pt x="3" y="1937"/>
                </a:lnTo>
                <a:lnTo>
                  <a:pt x="7" y="1954"/>
                </a:lnTo>
                <a:lnTo>
                  <a:pt x="14" y="1970"/>
                </a:lnTo>
                <a:lnTo>
                  <a:pt x="21" y="1984"/>
                </a:lnTo>
                <a:lnTo>
                  <a:pt x="31" y="1996"/>
                </a:lnTo>
                <a:lnTo>
                  <a:pt x="41" y="2006"/>
                </a:lnTo>
                <a:lnTo>
                  <a:pt x="51" y="2011"/>
                </a:lnTo>
                <a:lnTo>
                  <a:pt x="51" y="2011"/>
                </a:lnTo>
                <a:lnTo>
                  <a:pt x="85" y="2026"/>
                </a:lnTo>
                <a:lnTo>
                  <a:pt x="124" y="2041"/>
                </a:lnTo>
                <a:lnTo>
                  <a:pt x="174" y="2060"/>
                </a:lnTo>
                <a:lnTo>
                  <a:pt x="174" y="2060"/>
                </a:lnTo>
                <a:lnTo>
                  <a:pt x="242" y="2084"/>
                </a:lnTo>
                <a:lnTo>
                  <a:pt x="312" y="2108"/>
                </a:lnTo>
                <a:lnTo>
                  <a:pt x="381" y="2129"/>
                </a:lnTo>
                <a:lnTo>
                  <a:pt x="451" y="2149"/>
                </a:lnTo>
                <a:lnTo>
                  <a:pt x="451" y="2149"/>
                </a:lnTo>
                <a:lnTo>
                  <a:pt x="518" y="2168"/>
                </a:lnTo>
                <a:lnTo>
                  <a:pt x="589" y="2185"/>
                </a:lnTo>
                <a:lnTo>
                  <a:pt x="659" y="2199"/>
                </a:lnTo>
                <a:lnTo>
                  <a:pt x="727" y="2212"/>
                </a:lnTo>
                <a:lnTo>
                  <a:pt x="855" y="2232"/>
                </a:lnTo>
                <a:lnTo>
                  <a:pt x="855" y="2232"/>
                </a:lnTo>
                <a:lnTo>
                  <a:pt x="869" y="2235"/>
                </a:lnTo>
                <a:lnTo>
                  <a:pt x="882" y="2238"/>
                </a:lnTo>
                <a:lnTo>
                  <a:pt x="895" y="2242"/>
                </a:lnTo>
                <a:lnTo>
                  <a:pt x="906" y="2246"/>
                </a:lnTo>
                <a:lnTo>
                  <a:pt x="917" y="2252"/>
                </a:lnTo>
                <a:lnTo>
                  <a:pt x="929" y="2259"/>
                </a:lnTo>
                <a:lnTo>
                  <a:pt x="939" y="2265"/>
                </a:lnTo>
                <a:lnTo>
                  <a:pt x="949" y="2272"/>
                </a:lnTo>
                <a:lnTo>
                  <a:pt x="957" y="2280"/>
                </a:lnTo>
                <a:lnTo>
                  <a:pt x="964" y="2289"/>
                </a:lnTo>
                <a:lnTo>
                  <a:pt x="972" y="2297"/>
                </a:lnTo>
                <a:lnTo>
                  <a:pt x="977" y="2306"/>
                </a:lnTo>
                <a:lnTo>
                  <a:pt x="983" y="2316"/>
                </a:lnTo>
                <a:lnTo>
                  <a:pt x="986" y="2326"/>
                </a:lnTo>
                <a:lnTo>
                  <a:pt x="989" y="2334"/>
                </a:lnTo>
                <a:lnTo>
                  <a:pt x="990" y="2344"/>
                </a:lnTo>
                <a:lnTo>
                  <a:pt x="990" y="2344"/>
                </a:lnTo>
                <a:lnTo>
                  <a:pt x="1000" y="2395"/>
                </a:lnTo>
                <a:lnTo>
                  <a:pt x="1013" y="2447"/>
                </a:lnTo>
                <a:lnTo>
                  <a:pt x="1028" y="2505"/>
                </a:lnTo>
                <a:lnTo>
                  <a:pt x="1037" y="2535"/>
                </a:lnTo>
                <a:lnTo>
                  <a:pt x="1037" y="2535"/>
                </a:lnTo>
                <a:lnTo>
                  <a:pt x="1051" y="2576"/>
                </a:lnTo>
                <a:lnTo>
                  <a:pt x="1058" y="2593"/>
                </a:lnTo>
                <a:lnTo>
                  <a:pt x="1064" y="2609"/>
                </a:lnTo>
                <a:lnTo>
                  <a:pt x="1087" y="2663"/>
                </a:lnTo>
                <a:lnTo>
                  <a:pt x="1087" y="2663"/>
                </a:lnTo>
                <a:lnTo>
                  <a:pt x="1091" y="2673"/>
                </a:lnTo>
                <a:lnTo>
                  <a:pt x="1092" y="2683"/>
                </a:lnTo>
                <a:lnTo>
                  <a:pt x="1094" y="2694"/>
                </a:lnTo>
                <a:lnTo>
                  <a:pt x="1094" y="2706"/>
                </a:lnTo>
                <a:lnTo>
                  <a:pt x="1094" y="2715"/>
                </a:lnTo>
                <a:lnTo>
                  <a:pt x="1092" y="2727"/>
                </a:lnTo>
                <a:lnTo>
                  <a:pt x="1087" y="2750"/>
                </a:lnTo>
                <a:lnTo>
                  <a:pt x="1078" y="2771"/>
                </a:lnTo>
                <a:lnTo>
                  <a:pt x="1067" y="2791"/>
                </a:lnTo>
                <a:lnTo>
                  <a:pt x="1051" y="2811"/>
                </a:lnTo>
                <a:lnTo>
                  <a:pt x="1034" y="2828"/>
                </a:lnTo>
                <a:lnTo>
                  <a:pt x="1034" y="2828"/>
                </a:lnTo>
                <a:lnTo>
                  <a:pt x="1006" y="2852"/>
                </a:lnTo>
                <a:lnTo>
                  <a:pt x="937" y="2916"/>
                </a:lnTo>
                <a:lnTo>
                  <a:pt x="892" y="2960"/>
                </a:lnTo>
                <a:lnTo>
                  <a:pt x="843" y="3008"/>
                </a:lnTo>
                <a:lnTo>
                  <a:pt x="792" y="3063"/>
                </a:lnTo>
                <a:lnTo>
                  <a:pt x="741" y="3119"/>
                </a:lnTo>
                <a:lnTo>
                  <a:pt x="741" y="3119"/>
                </a:lnTo>
                <a:lnTo>
                  <a:pt x="691" y="3178"/>
                </a:lnTo>
                <a:lnTo>
                  <a:pt x="644" y="3236"/>
                </a:lnTo>
                <a:lnTo>
                  <a:pt x="600" y="3293"/>
                </a:lnTo>
                <a:lnTo>
                  <a:pt x="562" y="3344"/>
                </a:lnTo>
                <a:lnTo>
                  <a:pt x="505" y="3422"/>
                </a:lnTo>
                <a:lnTo>
                  <a:pt x="484" y="3454"/>
                </a:lnTo>
                <a:lnTo>
                  <a:pt x="484" y="3454"/>
                </a:lnTo>
                <a:lnTo>
                  <a:pt x="478" y="3467"/>
                </a:lnTo>
                <a:lnTo>
                  <a:pt x="474" y="3479"/>
                </a:lnTo>
                <a:lnTo>
                  <a:pt x="474" y="3495"/>
                </a:lnTo>
                <a:lnTo>
                  <a:pt x="474" y="3511"/>
                </a:lnTo>
                <a:lnTo>
                  <a:pt x="478" y="3526"/>
                </a:lnTo>
                <a:lnTo>
                  <a:pt x="484" y="3542"/>
                </a:lnTo>
                <a:lnTo>
                  <a:pt x="491" y="3558"/>
                </a:lnTo>
                <a:lnTo>
                  <a:pt x="501" y="3570"/>
                </a:lnTo>
                <a:lnTo>
                  <a:pt x="501" y="3570"/>
                </a:lnTo>
                <a:lnTo>
                  <a:pt x="525" y="3600"/>
                </a:lnTo>
                <a:lnTo>
                  <a:pt x="549" y="3629"/>
                </a:lnTo>
                <a:lnTo>
                  <a:pt x="579" y="3660"/>
                </a:lnTo>
                <a:lnTo>
                  <a:pt x="666" y="3747"/>
                </a:lnTo>
                <a:lnTo>
                  <a:pt x="670" y="3752"/>
                </a:lnTo>
                <a:lnTo>
                  <a:pt x="670" y="3752"/>
                </a:lnTo>
                <a:lnTo>
                  <a:pt x="694" y="3775"/>
                </a:lnTo>
                <a:lnTo>
                  <a:pt x="741" y="3815"/>
                </a:lnTo>
                <a:lnTo>
                  <a:pt x="868" y="3920"/>
                </a:lnTo>
                <a:lnTo>
                  <a:pt x="868" y="3920"/>
                </a:lnTo>
                <a:lnTo>
                  <a:pt x="882" y="3929"/>
                </a:lnTo>
                <a:lnTo>
                  <a:pt x="898" y="3935"/>
                </a:lnTo>
                <a:lnTo>
                  <a:pt x="915" y="3939"/>
                </a:lnTo>
                <a:lnTo>
                  <a:pt x="932" y="3940"/>
                </a:lnTo>
                <a:lnTo>
                  <a:pt x="947" y="3939"/>
                </a:lnTo>
                <a:lnTo>
                  <a:pt x="962" y="3937"/>
                </a:lnTo>
                <a:lnTo>
                  <a:pt x="974" y="3933"/>
                </a:lnTo>
                <a:lnTo>
                  <a:pt x="986" y="3926"/>
                </a:lnTo>
                <a:lnTo>
                  <a:pt x="986" y="3926"/>
                </a:lnTo>
                <a:lnTo>
                  <a:pt x="1016" y="3903"/>
                </a:lnTo>
                <a:lnTo>
                  <a:pt x="1090" y="3843"/>
                </a:lnTo>
                <a:lnTo>
                  <a:pt x="1139" y="3802"/>
                </a:lnTo>
                <a:lnTo>
                  <a:pt x="1192" y="3757"/>
                </a:lnTo>
                <a:lnTo>
                  <a:pt x="1247" y="3705"/>
                </a:lnTo>
                <a:lnTo>
                  <a:pt x="1303" y="3651"/>
                </a:lnTo>
                <a:lnTo>
                  <a:pt x="1303" y="3651"/>
                </a:lnTo>
                <a:lnTo>
                  <a:pt x="1358" y="3596"/>
                </a:lnTo>
                <a:lnTo>
                  <a:pt x="1408" y="3542"/>
                </a:lnTo>
                <a:lnTo>
                  <a:pt x="1455" y="3489"/>
                </a:lnTo>
                <a:lnTo>
                  <a:pt x="1495" y="3442"/>
                </a:lnTo>
                <a:lnTo>
                  <a:pt x="1555" y="3371"/>
                </a:lnTo>
                <a:lnTo>
                  <a:pt x="1577" y="3343"/>
                </a:lnTo>
                <a:lnTo>
                  <a:pt x="1577" y="3343"/>
                </a:lnTo>
                <a:lnTo>
                  <a:pt x="1593" y="3324"/>
                </a:lnTo>
                <a:lnTo>
                  <a:pt x="1612" y="3307"/>
                </a:lnTo>
                <a:lnTo>
                  <a:pt x="1632" y="3293"/>
                </a:lnTo>
                <a:lnTo>
                  <a:pt x="1653" y="3283"/>
                </a:lnTo>
                <a:lnTo>
                  <a:pt x="1664" y="3279"/>
                </a:lnTo>
                <a:lnTo>
                  <a:pt x="1676" y="3274"/>
                </a:lnTo>
                <a:lnTo>
                  <a:pt x="1687" y="3273"/>
                </a:lnTo>
                <a:lnTo>
                  <a:pt x="1698" y="3272"/>
                </a:lnTo>
                <a:lnTo>
                  <a:pt x="1710" y="3270"/>
                </a:lnTo>
                <a:lnTo>
                  <a:pt x="1721" y="3272"/>
                </a:lnTo>
                <a:lnTo>
                  <a:pt x="1731" y="3274"/>
                </a:lnTo>
                <a:lnTo>
                  <a:pt x="1742" y="3279"/>
                </a:lnTo>
                <a:lnTo>
                  <a:pt x="1742" y="3279"/>
                </a:lnTo>
                <a:lnTo>
                  <a:pt x="1757" y="3284"/>
                </a:lnTo>
                <a:lnTo>
                  <a:pt x="1771" y="3290"/>
                </a:lnTo>
                <a:lnTo>
                  <a:pt x="1788" y="3296"/>
                </a:lnTo>
                <a:lnTo>
                  <a:pt x="1903" y="3329"/>
                </a:lnTo>
                <a:lnTo>
                  <a:pt x="2016" y="3350"/>
                </a:lnTo>
                <a:lnTo>
                  <a:pt x="2065" y="3354"/>
                </a:lnTo>
                <a:lnTo>
                  <a:pt x="2065" y="3354"/>
                </a:lnTo>
                <a:lnTo>
                  <a:pt x="2077" y="3356"/>
                </a:lnTo>
                <a:lnTo>
                  <a:pt x="2087" y="3358"/>
                </a:lnTo>
                <a:lnTo>
                  <a:pt x="2097" y="3363"/>
                </a:lnTo>
                <a:lnTo>
                  <a:pt x="2107" y="3368"/>
                </a:lnTo>
                <a:lnTo>
                  <a:pt x="2117" y="3374"/>
                </a:lnTo>
                <a:lnTo>
                  <a:pt x="2125" y="3381"/>
                </a:lnTo>
                <a:lnTo>
                  <a:pt x="2134" y="3390"/>
                </a:lnTo>
                <a:lnTo>
                  <a:pt x="2142" y="3398"/>
                </a:lnTo>
                <a:lnTo>
                  <a:pt x="2156" y="3418"/>
                </a:lnTo>
                <a:lnTo>
                  <a:pt x="2168" y="3439"/>
                </a:lnTo>
                <a:lnTo>
                  <a:pt x="2178" y="3462"/>
                </a:lnTo>
                <a:lnTo>
                  <a:pt x="2183" y="3485"/>
                </a:lnTo>
                <a:lnTo>
                  <a:pt x="2183" y="3485"/>
                </a:lnTo>
                <a:lnTo>
                  <a:pt x="2191" y="3521"/>
                </a:lnTo>
                <a:lnTo>
                  <a:pt x="2212" y="3612"/>
                </a:lnTo>
                <a:lnTo>
                  <a:pt x="2226" y="3671"/>
                </a:lnTo>
                <a:lnTo>
                  <a:pt x="2245" y="3740"/>
                </a:lnTo>
                <a:lnTo>
                  <a:pt x="2266" y="3811"/>
                </a:lnTo>
                <a:lnTo>
                  <a:pt x="2290" y="3885"/>
                </a:lnTo>
                <a:lnTo>
                  <a:pt x="2290" y="3885"/>
                </a:lnTo>
                <a:lnTo>
                  <a:pt x="2320" y="3970"/>
                </a:lnTo>
                <a:lnTo>
                  <a:pt x="2348" y="4045"/>
                </a:lnTo>
                <a:lnTo>
                  <a:pt x="2374" y="4107"/>
                </a:lnTo>
                <a:lnTo>
                  <a:pt x="2394" y="4154"/>
                </a:lnTo>
                <a:lnTo>
                  <a:pt x="2451" y="4273"/>
                </a:lnTo>
                <a:lnTo>
                  <a:pt x="2451" y="4273"/>
                </a:lnTo>
                <a:lnTo>
                  <a:pt x="2458" y="4283"/>
                </a:lnTo>
                <a:lnTo>
                  <a:pt x="2468" y="4293"/>
                </a:lnTo>
                <a:lnTo>
                  <a:pt x="2481" y="4302"/>
                </a:lnTo>
                <a:lnTo>
                  <a:pt x="2495" y="4310"/>
                </a:lnTo>
                <a:lnTo>
                  <a:pt x="2511" y="4316"/>
                </a:lnTo>
                <a:lnTo>
                  <a:pt x="2526" y="4319"/>
                </a:lnTo>
                <a:lnTo>
                  <a:pt x="2543" y="4320"/>
                </a:lnTo>
                <a:lnTo>
                  <a:pt x="2559" y="4319"/>
                </a:lnTo>
                <a:lnTo>
                  <a:pt x="2653" y="4299"/>
                </a:lnTo>
                <a:lnTo>
                  <a:pt x="2653" y="4299"/>
                </a:lnTo>
                <a:lnTo>
                  <a:pt x="2725" y="4283"/>
                </a:lnTo>
                <a:lnTo>
                  <a:pt x="2765" y="4272"/>
                </a:lnTo>
                <a:lnTo>
                  <a:pt x="2805" y="4260"/>
                </a:lnTo>
                <a:lnTo>
                  <a:pt x="2805" y="4260"/>
                </a:lnTo>
                <a:lnTo>
                  <a:pt x="2845" y="4247"/>
                </a:lnTo>
                <a:lnTo>
                  <a:pt x="2883" y="4235"/>
                </a:lnTo>
                <a:lnTo>
                  <a:pt x="2953" y="4209"/>
                </a:lnTo>
                <a:lnTo>
                  <a:pt x="3008" y="4188"/>
                </a:lnTo>
                <a:lnTo>
                  <a:pt x="3043" y="4173"/>
                </a:lnTo>
                <a:lnTo>
                  <a:pt x="3051" y="4169"/>
                </a:lnTo>
                <a:lnTo>
                  <a:pt x="3051" y="4169"/>
                </a:lnTo>
                <a:lnTo>
                  <a:pt x="3065" y="4161"/>
                </a:lnTo>
                <a:lnTo>
                  <a:pt x="3077" y="4151"/>
                </a:lnTo>
                <a:lnTo>
                  <a:pt x="3088" y="4139"/>
                </a:lnTo>
                <a:lnTo>
                  <a:pt x="3097" y="4127"/>
                </a:lnTo>
                <a:lnTo>
                  <a:pt x="3104" y="4114"/>
                </a:lnTo>
                <a:lnTo>
                  <a:pt x="3108" y="4101"/>
                </a:lnTo>
                <a:lnTo>
                  <a:pt x="3111" y="4088"/>
                </a:lnTo>
                <a:lnTo>
                  <a:pt x="3111" y="4077"/>
                </a:lnTo>
                <a:lnTo>
                  <a:pt x="3111" y="4077"/>
                </a:lnTo>
                <a:lnTo>
                  <a:pt x="3105" y="4038"/>
                </a:lnTo>
                <a:lnTo>
                  <a:pt x="3091" y="3942"/>
                </a:lnTo>
                <a:lnTo>
                  <a:pt x="3080" y="3879"/>
                </a:lnTo>
                <a:lnTo>
                  <a:pt x="3065" y="3809"/>
                </a:lnTo>
                <a:lnTo>
                  <a:pt x="3050" y="3737"/>
                </a:lnTo>
                <a:lnTo>
                  <a:pt x="3031" y="3663"/>
                </a:lnTo>
                <a:lnTo>
                  <a:pt x="3031" y="3663"/>
                </a:lnTo>
                <a:lnTo>
                  <a:pt x="3011" y="3587"/>
                </a:lnTo>
                <a:lnTo>
                  <a:pt x="2988" y="3516"/>
                </a:lnTo>
                <a:lnTo>
                  <a:pt x="2967" y="3449"/>
                </a:lnTo>
                <a:lnTo>
                  <a:pt x="2946" y="3391"/>
                </a:lnTo>
                <a:lnTo>
                  <a:pt x="2913" y="3303"/>
                </a:lnTo>
                <a:lnTo>
                  <a:pt x="2900" y="3269"/>
                </a:lnTo>
                <a:lnTo>
                  <a:pt x="2900" y="3269"/>
                </a:lnTo>
                <a:lnTo>
                  <a:pt x="2893" y="3249"/>
                </a:lnTo>
                <a:lnTo>
                  <a:pt x="2889" y="3228"/>
                </a:lnTo>
                <a:lnTo>
                  <a:pt x="2886" y="3206"/>
                </a:lnTo>
                <a:lnTo>
                  <a:pt x="2887" y="3186"/>
                </a:lnTo>
                <a:lnTo>
                  <a:pt x="2889" y="3166"/>
                </a:lnTo>
                <a:lnTo>
                  <a:pt x="2895" y="3146"/>
                </a:lnTo>
                <a:lnTo>
                  <a:pt x="2902" y="3129"/>
                </a:lnTo>
                <a:lnTo>
                  <a:pt x="2910" y="3114"/>
                </a:lnTo>
                <a:lnTo>
                  <a:pt x="2910" y="3108"/>
                </a:lnTo>
                <a:lnTo>
                  <a:pt x="2929" y="3095"/>
                </a:lnTo>
                <a:lnTo>
                  <a:pt x="2929" y="3095"/>
                </a:lnTo>
                <a:lnTo>
                  <a:pt x="2947" y="3080"/>
                </a:lnTo>
                <a:lnTo>
                  <a:pt x="2977" y="3054"/>
                </a:lnTo>
                <a:lnTo>
                  <a:pt x="3013" y="3021"/>
                </a:lnTo>
                <a:lnTo>
                  <a:pt x="3050" y="2983"/>
                </a:lnTo>
                <a:lnTo>
                  <a:pt x="3050" y="2983"/>
                </a:lnTo>
                <a:lnTo>
                  <a:pt x="3064" y="2969"/>
                </a:lnTo>
                <a:lnTo>
                  <a:pt x="3077" y="2956"/>
                </a:lnTo>
                <a:lnTo>
                  <a:pt x="3098" y="2929"/>
                </a:lnTo>
                <a:lnTo>
                  <a:pt x="3098" y="2929"/>
                </a:lnTo>
                <a:lnTo>
                  <a:pt x="3112" y="2910"/>
                </a:lnTo>
                <a:lnTo>
                  <a:pt x="3128" y="2893"/>
                </a:lnTo>
                <a:lnTo>
                  <a:pt x="3128" y="2893"/>
                </a:lnTo>
                <a:lnTo>
                  <a:pt x="3138" y="2879"/>
                </a:lnTo>
                <a:lnTo>
                  <a:pt x="3146" y="2869"/>
                </a:lnTo>
                <a:lnTo>
                  <a:pt x="3153" y="2859"/>
                </a:lnTo>
                <a:lnTo>
                  <a:pt x="3153" y="2859"/>
                </a:lnTo>
                <a:lnTo>
                  <a:pt x="3161" y="2849"/>
                </a:lnTo>
                <a:lnTo>
                  <a:pt x="3168" y="2841"/>
                </a:lnTo>
                <a:lnTo>
                  <a:pt x="3176" y="2834"/>
                </a:lnTo>
                <a:lnTo>
                  <a:pt x="3186" y="2826"/>
                </a:lnTo>
                <a:lnTo>
                  <a:pt x="3198" y="2821"/>
                </a:lnTo>
                <a:lnTo>
                  <a:pt x="3208" y="2816"/>
                </a:lnTo>
                <a:lnTo>
                  <a:pt x="3219" y="2814"/>
                </a:lnTo>
                <a:lnTo>
                  <a:pt x="3232" y="2811"/>
                </a:lnTo>
                <a:lnTo>
                  <a:pt x="3243" y="2808"/>
                </a:lnTo>
                <a:lnTo>
                  <a:pt x="3256" y="2808"/>
                </a:lnTo>
                <a:lnTo>
                  <a:pt x="3280" y="2808"/>
                </a:lnTo>
                <a:lnTo>
                  <a:pt x="3304" y="2811"/>
                </a:lnTo>
                <a:lnTo>
                  <a:pt x="3327" y="2818"/>
                </a:lnTo>
                <a:lnTo>
                  <a:pt x="3327" y="2818"/>
                </a:lnTo>
                <a:lnTo>
                  <a:pt x="3361" y="2829"/>
                </a:lnTo>
                <a:lnTo>
                  <a:pt x="3451" y="2856"/>
                </a:lnTo>
                <a:lnTo>
                  <a:pt x="3511" y="2873"/>
                </a:lnTo>
                <a:lnTo>
                  <a:pt x="3577" y="2890"/>
                </a:lnTo>
                <a:lnTo>
                  <a:pt x="3650" y="2909"/>
                </a:lnTo>
                <a:lnTo>
                  <a:pt x="3725" y="2925"/>
                </a:lnTo>
                <a:lnTo>
                  <a:pt x="3725" y="2925"/>
                </a:lnTo>
                <a:lnTo>
                  <a:pt x="3795" y="2937"/>
                </a:lnTo>
                <a:lnTo>
                  <a:pt x="3865" y="2949"/>
                </a:lnTo>
                <a:lnTo>
                  <a:pt x="3930" y="2959"/>
                </a:lnTo>
                <a:lnTo>
                  <a:pt x="3990" y="2966"/>
                </a:lnTo>
                <a:lnTo>
                  <a:pt x="4088" y="2974"/>
                </a:lnTo>
                <a:lnTo>
                  <a:pt x="4142" y="2979"/>
                </a:lnTo>
                <a:lnTo>
                  <a:pt x="4145" y="2979"/>
                </a:lnTo>
                <a:lnTo>
                  <a:pt x="4145" y="2979"/>
                </a:lnTo>
                <a:lnTo>
                  <a:pt x="4158" y="2977"/>
                </a:lnTo>
                <a:lnTo>
                  <a:pt x="4172" y="2974"/>
                </a:lnTo>
                <a:lnTo>
                  <a:pt x="4185" y="2967"/>
                </a:lnTo>
                <a:lnTo>
                  <a:pt x="4198" y="2959"/>
                </a:lnTo>
                <a:lnTo>
                  <a:pt x="4209" y="2949"/>
                </a:lnTo>
                <a:lnTo>
                  <a:pt x="4220" y="2936"/>
                </a:lnTo>
                <a:lnTo>
                  <a:pt x="4230" y="2923"/>
                </a:lnTo>
                <a:lnTo>
                  <a:pt x="4237" y="2908"/>
                </a:lnTo>
                <a:lnTo>
                  <a:pt x="4237" y="2906"/>
                </a:lnTo>
                <a:lnTo>
                  <a:pt x="4237" y="2906"/>
                </a:lnTo>
                <a:lnTo>
                  <a:pt x="4252" y="2866"/>
                </a:lnTo>
                <a:lnTo>
                  <a:pt x="4274" y="2792"/>
                </a:lnTo>
                <a:lnTo>
                  <a:pt x="4307" y="2677"/>
                </a:lnTo>
                <a:lnTo>
                  <a:pt x="4307" y="2677"/>
                </a:lnTo>
                <a:lnTo>
                  <a:pt x="4331" y="2553"/>
                </a:lnTo>
                <a:lnTo>
                  <a:pt x="4350" y="2457"/>
                </a:lnTo>
                <a:lnTo>
                  <a:pt x="4353" y="2417"/>
                </a:lnTo>
                <a:lnTo>
                  <a:pt x="4353" y="2417"/>
                </a:lnTo>
                <a:lnTo>
                  <a:pt x="4353" y="2400"/>
                </a:lnTo>
                <a:lnTo>
                  <a:pt x="4351" y="2383"/>
                </a:lnTo>
                <a:lnTo>
                  <a:pt x="4345" y="2366"/>
                </a:lnTo>
                <a:lnTo>
                  <a:pt x="4340" y="2350"/>
                </a:lnTo>
                <a:lnTo>
                  <a:pt x="4331" y="2337"/>
                </a:lnTo>
                <a:lnTo>
                  <a:pt x="4323" y="2324"/>
                </a:lnTo>
                <a:lnTo>
                  <a:pt x="4313" y="2316"/>
                </a:lnTo>
                <a:lnTo>
                  <a:pt x="4303" y="2310"/>
                </a:lnTo>
                <a:lnTo>
                  <a:pt x="4303" y="2310"/>
                </a:lnTo>
                <a:close/>
                <a:moveTo>
                  <a:pt x="2176" y="2650"/>
                </a:moveTo>
                <a:lnTo>
                  <a:pt x="2176" y="2650"/>
                </a:lnTo>
                <a:lnTo>
                  <a:pt x="2152" y="2649"/>
                </a:lnTo>
                <a:lnTo>
                  <a:pt x="2127" y="2647"/>
                </a:lnTo>
                <a:lnTo>
                  <a:pt x="2102" y="2644"/>
                </a:lnTo>
                <a:lnTo>
                  <a:pt x="2078" y="2640"/>
                </a:lnTo>
                <a:lnTo>
                  <a:pt x="2055" y="2634"/>
                </a:lnTo>
                <a:lnTo>
                  <a:pt x="2031" y="2627"/>
                </a:lnTo>
                <a:lnTo>
                  <a:pt x="2008" y="2620"/>
                </a:lnTo>
                <a:lnTo>
                  <a:pt x="1987" y="2612"/>
                </a:lnTo>
                <a:lnTo>
                  <a:pt x="1964" y="2602"/>
                </a:lnTo>
                <a:lnTo>
                  <a:pt x="1944" y="2590"/>
                </a:lnTo>
                <a:lnTo>
                  <a:pt x="1923" y="2579"/>
                </a:lnTo>
                <a:lnTo>
                  <a:pt x="1903" y="2566"/>
                </a:lnTo>
                <a:lnTo>
                  <a:pt x="1885" y="2552"/>
                </a:lnTo>
                <a:lnTo>
                  <a:pt x="1866" y="2538"/>
                </a:lnTo>
                <a:lnTo>
                  <a:pt x="1848" y="2522"/>
                </a:lnTo>
                <a:lnTo>
                  <a:pt x="1831" y="2506"/>
                </a:lnTo>
                <a:lnTo>
                  <a:pt x="1815" y="2489"/>
                </a:lnTo>
                <a:lnTo>
                  <a:pt x="1799" y="2471"/>
                </a:lnTo>
                <a:lnTo>
                  <a:pt x="1785" y="2452"/>
                </a:lnTo>
                <a:lnTo>
                  <a:pt x="1771" y="2434"/>
                </a:lnTo>
                <a:lnTo>
                  <a:pt x="1758" y="2414"/>
                </a:lnTo>
                <a:lnTo>
                  <a:pt x="1747" y="2394"/>
                </a:lnTo>
                <a:lnTo>
                  <a:pt x="1737" y="2373"/>
                </a:lnTo>
                <a:lnTo>
                  <a:pt x="1727" y="2351"/>
                </a:lnTo>
                <a:lnTo>
                  <a:pt x="1718" y="2329"/>
                </a:lnTo>
                <a:lnTo>
                  <a:pt x="1710" y="2306"/>
                </a:lnTo>
                <a:lnTo>
                  <a:pt x="1703" y="2283"/>
                </a:lnTo>
                <a:lnTo>
                  <a:pt x="1698" y="2259"/>
                </a:lnTo>
                <a:lnTo>
                  <a:pt x="1694" y="2235"/>
                </a:lnTo>
                <a:lnTo>
                  <a:pt x="1690" y="2210"/>
                </a:lnTo>
                <a:lnTo>
                  <a:pt x="1688" y="2185"/>
                </a:lnTo>
                <a:lnTo>
                  <a:pt x="1688" y="2161"/>
                </a:lnTo>
                <a:lnTo>
                  <a:pt x="1688" y="2161"/>
                </a:lnTo>
                <a:lnTo>
                  <a:pt x="1688" y="2135"/>
                </a:lnTo>
                <a:lnTo>
                  <a:pt x="1690" y="2111"/>
                </a:lnTo>
                <a:lnTo>
                  <a:pt x="1694" y="2085"/>
                </a:lnTo>
                <a:lnTo>
                  <a:pt x="1698" y="2061"/>
                </a:lnTo>
                <a:lnTo>
                  <a:pt x="1703" y="2038"/>
                </a:lnTo>
                <a:lnTo>
                  <a:pt x="1710" y="2016"/>
                </a:lnTo>
                <a:lnTo>
                  <a:pt x="1718" y="1993"/>
                </a:lnTo>
                <a:lnTo>
                  <a:pt x="1727" y="1970"/>
                </a:lnTo>
                <a:lnTo>
                  <a:pt x="1737" y="1949"/>
                </a:lnTo>
                <a:lnTo>
                  <a:pt x="1747" y="1927"/>
                </a:lnTo>
                <a:lnTo>
                  <a:pt x="1758" y="1908"/>
                </a:lnTo>
                <a:lnTo>
                  <a:pt x="1771" y="1888"/>
                </a:lnTo>
                <a:lnTo>
                  <a:pt x="1785" y="1868"/>
                </a:lnTo>
                <a:lnTo>
                  <a:pt x="1799" y="1849"/>
                </a:lnTo>
                <a:lnTo>
                  <a:pt x="1815" y="1832"/>
                </a:lnTo>
                <a:lnTo>
                  <a:pt x="1831" y="1815"/>
                </a:lnTo>
                <a:lnTo>
                  <a:pt x="1848" y="1798"/>
                </a:lnTo>
                <a:lnTo>
                  <a:pt x="1866" y="1784"/>
                </a:lnTo>
                <a:lnTo>
                  <a:pt x="1885" y="1768"/>
                </a:lnTo>
                <a:lnTo>
                  <a:pt x="1903" y="1755"/>
                </a:lnTo>
                <a:lnTo>
                  <a:pt x="1923" y="1743"/>
                </a:lnTo>
                <a:lnTo>
                  <a:pt x="1944" y="1731"/>
                </a:lnTo>
                <a:lnTo>
                  <a:pt x="1964" y="1720"/>
                </a:lnTo>
                <a:lnTo>
                  <a:pt x="1987" y="1710"/>
                </a:lnTo>
                <a:lnTo>
                  <a:pt x="2008" y="1701"/>
                </a:lnTo>
                <a:lnTo>
                  <a:pt x="2031" y="1693"/>
                </a:lnTo>
                <a:lnTo>
                  <a:pt x="2055" y="1687"/>
                </a:lnTo>
                <a:lnTo>
                  <a:pt x="2078" y="1681"/>
                </a:lnTo>
                <a:lnTo>
                  <a:pt x="2102" y="1677"/>
                </a:lnTo>
                <a:lnTo>
                  <a:pt x="2127" y="1674"/>
                </a:lnTo>
                <a:lnTo>
                  <a:pt x="2152" y="1671"/>
                </a:lnTo>
                <a:lnTo>
                  <a:pt x="2176" y="1671"/>
                </a:lnTo>
                <a:lnTo>
                  <a:pt x="2176" y="1671"/>
                </a:lnTo>
                <a:lnTo>
                  <a:pt x="2202" y="1671"/>
                </a:lnTo>
                <a:lnTo>
                  <a:pt x="2227" y="1674"/>
                </a:lnTo>
                <a:lnTo>
                  <a:pt x="2252" y="1677"/>
                </a:lnTo>
                <a:lnTo>
                  <a:pt x="2276" y="1681"/>
                </a:lnTo>
                <a:lnTo>
                  <a:pt x="2299" y="1687"/>
                </a:lnTo>
                <a:lnTo>
                  <a:pt x="2323" y="1693"/>
                </a:lnTo>
                <a:lnTo>
                  <a:pt x="2346" y="1701"/>
                </a:lnTo>
                <a:lnTo>
                  <a:pt x="2367" y="1710"/>
                </a:lnTo>
                <a:lnTo>
                  <a:pt x="2388" y="1720"/>
                </a:lnTo>
                <a:lnTo>
                  <a:pt x="2410" y="1731"/>
                </a:lnTo>
                <a:lnTo>
                  <a:pt x="2431" y="1743"/>
                </a:lnTo>
                <a:lnTo>
                  <a:pt x="2451" y="1755"/>
                </a:lnTo>
                <a:lnTo>
                  <a:pt x="2469" y="1768"/>
                </a:lnTo>
                <a:lnTo>
                  <a:pt x="2488" y="1784"/>
                </a:lnTo>
                <a:lnTo>
                  <a:pt x="2506" y="1798"/>
                </a:lnTo>
                <a:lnTo>
                  <a:pt x="2522" y="1815"/>
                </a:lnTo>
                <a:lnTo>
                  <a:pt x="2539" y="1832"/>
                </a:lnTo>
                <a:lnTo>
                  <a:pt x="2555" y="1849"/>
                </a:lnTo>
                <a:lnTo>
                  <a:pt x="2569" y="1868"/>
                </a:lnTo>
                <a:lnTo>
                  <a:pt x="2582" y="1888"/>
                </a:lnTo>
                <a:lnTo>
                  <a:pt x="2594" y="1908"/>
                </a:lnTo>
                <a:lnTo>
                  <a:pt x="2607" y="1927"/>
                </a:lnTo>
                <a:lnTo>
                  <a:pt x="2617" y="1949"/>
                </a:lnTo>
                <a:lnTo>
                  <a:pt x="2627" y="1970"/>
                </a:lnTo>
                <a:lnTo>
                  <a:pt x="2636" y="1993"/>
                </a:lnTo>
                <a:lnTo>
                  <a:pt x="2644" y="2016"/>
                </a:lnTo>
                <a:lnTo>
                  <a:pt x="2650" y="2038"/>
                </a:lnTo>
                <a:lnTo>
                  <a:pt x="2656" y="2061"/>
                </a:lnTo>
                <a:lnTo>
                  <a:pt x="2660" y="2085"/>
                </a:lnTo>
                <a:lnTo>
                  <a:pt x="2663" y="2111"/>
                </a:lnTo>
                <a:lnTo>
                  <a:pt x="2666" y="2135"/>
                </a:lnTo>
                <a:lnTo>
                  <a:pt x="2666" y="2161"/>
                </a:lnTo>
                <a:lnTo>
                  <a:pt x="2666" y="2161"/>
                </a:lnTo>
                <a:lnTo>
                  <a:pt x="2666" y="2185"/>
                </a:lnTo>
                <a:lnTo>
                  <a:pt x="2663" y="2210"/>
                </a:lnTo>
                <a:lnTo>
                  <a:pt x="2660" y="2235"/>
                </a:lnTo>
                <a:lnTo>
                  <a:pt x="2656" y="2259"/>
                </a:lnTo>
                <a:lnTo>
                  <a:pt x="2650" y="2283"/>
                </a:lnTo>
                <a:lnTo>
                  <a:pt x="2644" y="2306"/>
                </a:lnTo>
                <a:lnTo>
                  <a:pt x="2636" y="2329"/>
                </a:lnTo>
                <a:lnTo>
                  <a:pt x="2627" y="2351"/>
                </a:lnTo>
                <a:lnTo>
                  <a:pt x="2617" y="2373"/>
                </a:lnTo>
                <a:lnTo>
                  <a:pt x="2607" y="2394"/>
                </a:lnTo>
                <a:lnTo>
                  <a:pt x="2594" y="2414"/>
                </a:lnTo>
                <a:lnTo>
                  <a:pt x="2582" y="2434"/>
                </a:lnTo>
                <a:lnTo>
                  <a:pt x="2569" y="2452"/>
                </a:lnTo>
                <a:lnTo>
                  <a:pt x="2555" y="2471"/>
                </a:lnTo>
                <a:lnTo>
                  <a:pt x="2539" y="2489"/>
                </a:lnTo>
                <a:lnTo>
                  <a:pt x="2522" y="2506"/>
                </a:lnTo>
                <a:lnTo>
                  <a:pt x="2506" y="2522"/>
                </a:lnTo>
                <a:lnTo>
                  <a:pt x="2488" y="2538"/>
                </a:lnTo>
                <a:lnTo>
                  <a:pt x="2469" y="2552"/>
                </a:lnTo>
                <a:lnTo>
                  <a:pt x="2451" y="2566"/>
                </a:lnTo>
                <a:lnTo>
                  <a:pt x="2431" y="2579"/>
                </a:lnTo>
                <a:lnTo>
                  <a:pt x="2410" y="2590"/>
                </a:lnTo>
                <a:lnTo>
                  <a:pt x="2388" y="2602"/>
                </a:lnTo>
                <a:lnTo>
                  <a:pt x="2367" y="2612"/>
                </a:lnTo>
                <a:lnTo>
                  <a:pt x="2346" y="2620"/>
                </a:lnTo>
                <a:lnTo>
                  <a:pt x="2323" y="2627"/>
                </a:lnTo>
                <a:lnTo>
                  <a:pt x="2299" y="2634"/>
                </a:lnTo>
                <a:lnTo>
                  <a:pt x="2276" y="2640"/>
                </a:lnTo>
                <a:lnTo>
                  <a:pt x="2252" y="2644"/>
                </a:lnTo>
                <a:lnTo>
                  <a:pt x="2227" y="2647"/>
                </a:lnTo>
                <a:lnTo>
                  <a:pt x="2202" y="2649"/>
                </a:lnTo>
                <a:lnTo>
                  <a:pt x="2176" y="2650"/>
                </a:lnTo>
                <a:lnTo>
                  <a:pt x="2176" y="2650"/>
                </a:lnTo>
                <a:close/>
              </a:path>
            </a:pathLst>
          </a:custGeom>
          <a:solidFill>
            <a:srgbClr val="AF6FFF"/>
          </a:solidFill>
          <a:ln w="9525">
            <a:noFill/>
            <a:prstDash val="sysDash"/>
            <a:miter lim="800000"/>
            <a:headEnd/>
            <a:tailEnd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288" tIns="18288" rIns="18288" bIns="18288" anchor="ctr" anchorCtr="1"/>
          <a:lstStyle/>
          <a:p>
            <a:pPr algn="ctr" defTabSz="1218987">
              <a:lnSpc>
                <a:spcPct val="85000"/>
              </a:lnSpc>
              <a:spcBef>
                <a:spcPct val="20000"/>
              </a:spcBef>
            </a:pPr>
            <a:endParaRPr lang="en-US" sz="1600" b="1" dirty="0">
              <a:solidFill>
                <a:srgbClr val="FFFFFF"/>
              </a:solidFill>
              <a:latin typeface="Arial Narrow" pitchFamily="112" charset="0"/>
            </a:endParaRPr>
          </a:p>
        </p:txBody>
      </p:sp>
      <p:sp>
        <p:nvSpPr>
          <p:cNvPr id="1751" name="Freeform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/>
        </p:nvSpPr>
        <p:spPr bwMode="auto">
          <a:xfrm rot="156951">
            <a:off x="7812127" y="2051018"/>
            <a:ext cx="753844" cy="748129"/>
          </a:xfrm>
          <a:custGeom>
            <a:avLst/>
            <a:gdLst>
              <a:gd name="T0" fmla="*/ 3835 w 4353"/>
              <a:gd name="T1" fmla="*/ 2154 h 4320"/>
              <a:gd name="T2" fmla="*/ 3385 w 4353"/>
              <a:gd name="T3" fmla="*/ 2028 h 4320"/>
              <a:gd name="T4" fmla="*/ 3316 w 4353"/>
              <a:gd name="T5" fmla="*/ 1787 h 4320"/>
              <a:gd name="T6" fmla="*/ 3291 w 4353"/>
              <a:gd name="T7" fmla="*/ 1525 h 4320"/>
              <a:gd name="T8" fmla="*/ 3663 w 4353"/>
              <a:gd name="T9" fmla="*/ 1142 h 4320"/>
              <a:gd name="T10" fmla="*/ 3870 w 4353"/>
              <a:gd name="T11" fmla="*/ 780 h 4320"/>
              <a:gd name="T12" fmla="*/ 3587 w 4353"/>
              <a:gd name="T13" fmla="*/ 485 h 4320"/>
              <a:gd name="T14" fmla="*/ 3368 w 4353"/>
              <a:gd name="T15" fmla="*/ 394 h 4320"/>
              <a:gd name="T16" fmla="*/ 2799 w 4353"/>
              <a:gd name="T17" fmla="*/ 950 h 4320"/>
              <a:gd name="T18" fmla="*/ 2633 w 4353"/>
              <a:gd name="T19" fmla="*/ 1048 h 4320"/>
              <a:gd name="T20" fmla="*/ 2267 w 4353"/>
              <a:gd name="T21" fmla="*/ 963 h 4320"/>
              <a:gd name="T22" fmla="*/ 2162 w 4353"/>
              <a:gd name="T23" fmla="*/ 801 h 4320"/>
              <a:gd name="T24" fmla="*/ 1902 w 4353"/>
              <a:gd name="T25" fmla="*/ 47 h 4320"/>
              <a:gd name="T26" fmla="*/ 1609 w 4353"/>
              <a:gd name="T27" fmla="*/ 44 h 4320"/>
              <a:gd name="T28" fmla="*/ 1269 w 4353"/>
              <a:gd name="T29" fmla="*/ 178 h 4320"/>
              <a:gd name="T30" fmla="*/ 1306 w 4353"/>
              <a:gd name="T31" fmla="*/ 595 h 4320"/>
              <a:gd name="T32" fmla="*/ 1467 w 4353"/>
              <a:gd name="T33" fmla="*/ 1107 h 4320"/>
              <a:gd name="T34" fmla="*/ 1347 w 4353"/>
              <a:gd name="T35" fmla="*/ 1294 h 4320"/>
              <a:gd name="T36" fmla="*/ 1208 w 4353"/>
              <a:gd name="T37" fmla="*/ 1452 h 4320"/>
              <a:gd name="T38" fmla="*/ 1071 w 4353"/>
              <a:gd name="T39" fmla="*/ 1513 h 4320"/>
              <a:gd name="T40" fmla="*/ 559 w 4353"/>
              <a:gd name="T41" fmla="*/ 1384 h 4320"/>
              <a:gd name="T42" fmla="*/ 169 w 4353"/>
              <a:gd name="T43" fmla="*/ 1354 h 4320"/>
              <a:gd name="T44" fmla="*/ 44 w 4353"/>
              <a:gd name="T45" fmla="*/ 1657 h 4320"/>
              <a:gd name="T46" fmla="*/ 31 w 4353"/>
              <a:gd name="T47" fmla="*/ 1996 h 4320"/>
              <a:gd name="T48" fmla="*/ 451 w 4353"/>
              <a:gd name="T49" fmla="*/ 2149 h 4320"/>
              <a:gd name="T50" fmla="*/ 929 w 4353"/>
              <a:gd name="T51" fmla="*/ 2259 h 4320"/>
              <a:gd name="T52" fmla="*/ 1000 w 4353"/>
              <a:gd name="T53" fmla="*/ 2395 h 4320"/>
              <a:gd name="T54" fmla="*/ 1094 w 4353"/>
              <a:gd name="T55" fmla="*/ 2694 h 4320"/>
              <a:gd name="T56" fmla="*/ 892 w 4353"/>
              <a:gd name="T57" fmla="*/ 2960 h 4320"/>
              <a:gd name="T58" fmla="*/ 478 w 4353"/>
              <a:gd name="T59" fmla="*/ 3467 h 4320"/>
              <a:gd name="T60" fmla="*/ 666 w 4353"/>
              <a:gd name="T61" fmla="*/ 3747 h 4320"/>
              <a:gd name="T62" fmla="*/ 962 w 4353"/>
              <a:gd name="T63" fmla="*/ 3937 h 4320"/>
              <a:gd name="T64" fmla="*/ 1408 w 4353"/>
              <a:gd name="T65" fmla="*/ 3542 h 4320"/>
              <a:gd name="T66" fmla="*/ 1687 w 4353"/>
              <a:gd name="T67" fmla="*/ 3273 h 4320"/>
              <a:gd name="T68" fmla="*/ 2065 w 4353"/>
              <a:gd name="T69" fmla="*/ 3354 h 4320"/>
              <a:gd name="T70" fmla="*/ 2178 w 4353"/>
              <a:gd name="T71" fmla="*/ 3462 h 4320"/>
              <a:gd name="T72" fmla="*/ 2374 w 4353"/>
              <a:gd name="T73" fmla="*/ 4107 h 4320"/>
              <a:gd name="T74" fmla="*/ 2653 w 4353"/>
              <a:gd name="T75" fmla="*/ 4299 h 4320"/>
              <a:gd name="T76" fmla="*/ 3051 w 4353"/>
              <a:gd name="T77" fmla="*/ 4169 h 4320"/>
              <a:gd name="T78" fmla="*/ 3080 w 4353"/>
              <a:gd name="T79" fmla="*/ 3879 h 4320"/>
              <a:gd name="T80" fmla="*/ 2893 w 4353"/>
              <a:gd name="T81" fmla="*/ 3249 h 4320"/>
              <a:gd name="T82" fmla="*/ 2977 w 4353"/>
              <a:gd name="T83" fmla="*/ 3054 h 4320"/>
              <a:gd name="T84" fmla="*/ 3146 w 4353"/>
              <a:gd name="T85" fmla="*/ 2869 h 4320"/>
              <a:gd name="T86" fmla="*/ 3256 w 4353"/>
              <a:gd name="T87" fmla="*/ 2808 h 4320"/>
              <a:gd name="T88" fmla="*/ 3795 w 4353"/>
              <a:gd name="T89" fmla="*/ 2937 h 4320"/>
              <a:gd name="T90" fmla="*/ 4209 w 4353"/>
              <a:gd name="T91" fmla="*/ 2949 h 4320"/>
              <a:gd name="T92" fmla="*/ 4353 w 4353"/>
              <a:gd name="T93" fmla="*/ 2417 h 4320"/>
              <a:gd name="T94" fmla="*/ 2176 w 4353"/>
              <a:gd name="T95" fmla="*/ 2650 h 4320"/>
              <a:gd name="T96" fmla="*/ 1903 w 4353"/>
              <a:gd name="T97" fmla="*/ 2566 h 4320"/>
              <a:gd name="T98" fmla="*/ 1727 w 4353"/>
              <a:gd name="T99" fmla="*/ 2351 h 4320"/>
              <a:gd name="T100" fmla="*/ 1694 w 4353"/>
              <a:gd name="T101" fmla="*/ 2085 h 4320"/>
              <a:gd name="T102" fmla="*/ 1815 w 4353"/>
              <a:gd name="T103" fmla="*/ 1832 h 4320"/>
              <a:gd name="T104" fmla="*/ 2055 w 4353"/>
              <a:gd name="T105" fmla="*/ 1687 h 4320"/>
              <a:gd name="T106" fmla="*/ 2323 w 4353"/>
              <a:gd name="T107" fmla="*/ 1693 h 4320"/>
              <a:gd name="T108" fmla="*/ 2555 w 4353"/>
              <a:gd name="T109" fmla="*/ 1849 h 4320"/>
              <a:gd name="T110" fmla="*/ 2663 w 4353"/>
              <a:gd name="T111" fmla="*/ 2111 h 4320"/>
              <a:gd name="T112" fmla="*/ 2617 w 4353"/>
              <a:gd name="T113" fmla="*/ 2373 h 4320"/>
              <a:gd name="T114" fmla="*/ 2431 w 4353"/>
              <a:gd name="T115" fmla="*/ 2579 h 4320"/>
              <a:gd name="T116" fmla="*/ 2176 w 4353"/>
              <a:gd name="T117" fmla="*/ 265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353" h="4320">
                <a:moveTo>
                  <a:pt x="4303" y="2310"/>
                </a:moveTo>
                <a:lnTo>
                  <a:pt x="4303" y="2310"/>
                </a:lnTo>
                <a:lnTo>
                  <a:pt x="4269" y="2296"/>
                </a:lnTo>
                <a:lnTo>
                  <a:pt x="4230" y="2280"/>
                </a:lnTo>
                <a:lnTo>
                  <a:pt x="4180" y="2260"/>
                </a:lnTo>
                <a:lnTo>
                  <a:pt x="4180" y="2260"/>
                </a:lnTo>
                <a:lnTo>
                  <a:pt x="4112" y="2236"/>
                </a:lnTo>
                <a:lnTo>
                  <a:pt x="4042" y="2213"/>
                </a:lnTo>
                <a:lnTo>
                  <a:pt x="3971" y="2191"/>
                </a:lnTo>
                <a:lnTo>
                  <a:pt x="3903" y="2172"/>
                </a:lnTo>
                <a:lnTo>
                  <a:pt x="3903" y="2172"/>
                </a:lnTo>
                <a:lnTo>
                  <a:pt x="3835" y="2154"/>
                </a:lnTo>
                <a:lnTo>
                  <a:pt x="3765" y="2137"/>
                </a:lnTo>
                <a:lnTo>
                  <a:pt x="3694" y="2121"/>
                </a:lnTo>
                <a:lnTo>
                  <a:pt x="3627" y="2108"/>
                </a:lnTo>
                <a:lnTo>
                  <a:pt x="3498" y="2088"/>
                </a:lnTo>
                <a:lnTo>
                  <a:pt x="3498" y="2088"/>
                </a:lnTo>
                <a:lnTo>
                  <a:pt x="3475" y="2084"/>
                </a:lnTo>
                <a:lnTo>
                  <a:pt x="3452" y="2077"/>
                </a:lnTo>
                <a:lnTo>
                  <a:pt x="3429" y="2065"/>
                </a:lnTo>
                <a:lnTo>
                  <a:pt x="3410" y="2053"/>
                </a:lnTo>
                <a:lnTo>
                  <a:pt x="3401" y="2045"/>
                </a:lnTo>
                <a:lnTo>
                  <a:pt x="3392" y="2037"/>
                </a:lnTo>
                <a:lnTo>
                  <a:pt x="3385" y="2028"/>
                </a:lnTo>
                <a:lnTo>
                  <a:pt x="3378" y="2020"/>
                </a:lnTo>
                <a:lnTo>
                  <a:pt x="3373" y="2010"/>
                </a:lnTo>
                <a:lnTo>
                  <a:pt x="3368" y="2000"/>
                </a:lnTo>
                <a:lnTo>
                  <a:pt x="3365" y="1989"/>
                </a:lnTo>
                <a:lnTo>
                  <a:pt x="3363" y="1977"/>
                </a:lnTo>
                <a:lnTo>
                  <a:pt x="3363" y="1977"/>
                </a:lnTo>
                <a:lnTo>
                  <a:pt x="3360" y="1956"/>
                </a:lnTo>
                <a:lnTo>
                  <a:pt x="3351" y="1919"/>
                </a:lnTo>
                <a:lnTo>
                  <a:pt x="3340" y="1869"/>
                </a:lnTo>
                <a:lnTo>
                  <a:pt x="3326" y="1816"/>
                </a:lnTo>
                <a:lnTo>
                  <a:pt x="3316" y="1787"/>
                </a:lnTo>
                <a:lnTo>
                  <a:pt x="3316" y="1787"/>
                </a:lnTo>
                <a:lnTo>
                  <a:pt x="3303" y="1745"/>
                </a:lnTo>
                <a:lnTo>
                  <a:pt x="3296" y="1727"/>
                </a:lnTo>
                <a:lnTo>
                  <a:pt x="3289" y="1713"/>
                </a:lnTo>
                <a:lnTo>
                  <a:pt x="3266" y="1659"/>
                </a:lnTo>
                <a:lnTo>
                  <a:pt x="3266" y="1659"/>
                </a:lnTo>
                <a:lnTo>
                  <a:pt x="3262" y="1640"/>
                </a:lnTo>
                <a:lnTo>
                  <a:pt x="3260" y="1620"/>
                </a:lnTo>
                <a:lnTo>
                  <a:pt x="3260" y="1602"/>
                </a:lnTo>
                <a:lnTo>
                  <a:pt x="3264" y="1582"/>
                </a:lnTo>
                <a:lnTo>
                  <a:pt x="3270" y="1562"/>
                </a:lnTo>
                <a:lnTo>
                  <a:pt x="3280" y="1543"/>
                </a:lnTo>
                <a:lnTo>
                  <a:pt x="3291" y="1525"/>
                </a:lnTo>
                <a:lnTo>
                  <a:pt x="3304" y="1508"/>
                </a:lnTo>
                <a:lnTo>
                  <a:pt x="3304" y="1506"/>
                </a:lnTo>
                <a:lnTo>
                  <a:pt x="3320" y="1492"/>
                </a:lnTo>
                <a:lnTo>
                  <a:pt x="3320" y="1492"/>
                </a:lnTo>
                <a:lnTo>
                  <a:pt x="3360" y="1457"/>
                </a:lnTo>
                <a:lnTo>
                  <a:pt x="3431" y="1391"/>
                </a:lnTo>
                <a:lnTo>
                  <a:pt x="3474" y="1350"/>
                </a:lnTo>
                <a:lnTo>
                  <a:pt x="3519" y="1303"/>
                </a:lnTo>
                <a:lnTo>
                  <a:pt x="3566" y="1253"/>
                </a:lnTo>
                <a:lnTo>
                  <a:pt x="3613" y="1201"/>
                </a:lnTo>
                <a:lnTo>
                  <a:pt x="3613" y="1201"/>
                </a:lnTo>
                <a:lnTo>
                  <a:pt x="3663" y="1142"/>
                </a:lnTo>
                <a:lnTo>
                  <a:pt x="3710" y="1084"/>
                </a:lnTo>
                <a:lnTo>
                  <a:pt x="3754" y="1028"/>
                </a:lnTo>
                <a:lnTo>
                  <a:pt x="3792" y="977"/>
                </a:lnTo>
                <a:lnTo>
                  <a:pt x="3848" y="898"/>
                </a:lnTo>
                <a:lnTo>
                  <a:pt x="3870" y="866"/>
                </a:lnTo>
                <a:lnTo>
                  <a:pt x="3870" y="866"/>
                </a:lnTo>
                <a:lnTo>
                  <a:pt x="3876" y="855"/>
                </a:lnTo>
                <a:lnTo>
                  <a:pt x="3879" y="842"/>
                </a:lnTo>
                <a:lnTo>
                  <a:pt x="3880" y="826"/>
                </a:lnTo>
                <a:lnTo>
                  <a:pt x="3879" y="811"/>
                </a:lnTo>
                <a:lnTo>
                  <a:pt x="3876" y="795"/>
                </a:lnTo>
                <a:lnTo>
                  <a:pt x="3870" y="780"/>
                </a:lnTo>
                <a:lnTo>
                  <a:pt x="3862" y="764"/>
                </a:lnTo>
                <a:lnTo>
                  <a:pt x="3853" y="750"/>
                </a:lnTo>
                <a:lnTo>
                  <a:pt x="3802" y="688"/>
                </a:lnTo>
                <a:lnTo>
                  <a:pt x="3802" y="688"/>
                </a:lnTo>
                <a:lnTo>
                  <a:pt x="3758" y="643"/>
                </a:lnTo>
                <a:lnTo>
                  <a:pt x="3705" y="590"/>
                </a:lnTo>
                <a:lnTo>
                  <a:pt x="3680" y="565"/>
                </a:lnTo>
                <a:lnTo>
                  <a:pt x="3680" y="565"/>
                </a:lnTo>
                <a:lnTo>
                  <a:pt x="3657" y="543"/>
                </a:lnTo>
                <a:lnTo>
                  <a:pt x="3634" y="522"/>
                </a:lnTo>
                <a:lnTo>
                  <a:pt x="3587" y="485"/>
                </a:lnTo>
                <a:lnTo>
                  <a:pt x="3587" y="485"/>
                </a:lnTo>
                <a:lnTo>
                  <a:pt x="3547" y="451"/>
                </a:lnTo>
                <a:lnTo>
                  <a:pt x="3485" y="401"/>
                </a:lnTo>
                <a:lnTo>
                  <a:pt x="3485" y="401"/>
                </a:lnTo>
                <a:lnTo>
                  <a:pt x="3471" y="393"/>
                </a:lnTo>
                <a:lnTo>
                  <a:pt x="3455" y="387"/>
                </a:lnTo>
                <a:lnTo>
                  <a:pt x="3439" y="383"/>
                </a:lnTo>
                <a:lnTo>
                  <a:pt x="3422" y="381"/>
                </a:lnTo>
                <a:lnTo>
                  <a:pt x="3407" y="381"/>
                </a:lnTo>
                <a:lnTo>
                  <a:pt x="3392" y="384"/>
                </a:lnTo>
                <a:lnTo>
                  <a:pt x="3380" y="388"/>
                </a:lnTo>
                <a:lnTo>
                  <a:pt x="3368" y="394"/>
                </a:lnTo>
                <a:lnTo>
                  <a:pt x="3368" y="394"/>
                </a:lnTo>
                <a:lnTo>
                  <a:pt x="3338" y="417"/>
                </a:lnTo>
                <a:lnTo>
                  <a:pt x="3263" y="478"/>
                </a:lnTo>
                <a:lnTo>
                  <a:pt x="3215" y="518"/>
                </a:lnTo>
                <a:lnTo>
                  <a:pt x="3162" y="565"/>
                </a:lnTo>
                <a:lnTo>
                  <a:pt x="3107" y="616"/>
                </a:lnTo>
                <a:lnTo>
                  <a:pt x="3050" y="670"/>
                </a:lnTo>
                <a:lnTo>
                  <a:pt x="3050" y="670"/>
                </a:lnTo>
                <a:lnTo>
                  <a:pt x="2996" y="725"/>
                </a:lnTo>
                <a:lnTo>
                  <a:pt x="2944" y="780"/>
                </a:lnTo>
                <a:lnTo>
                  <a:pt x="2899" y="832"/>
                </a:lnTo>
                <a:lnTo>
                  <a:pt x="2858" y="879"/>
                </a:lnTo>
                <a:lnTo>
                  <a:pt x="2799" y="950"/>
                </a:lnTo>
                <a:lnTo>
                  <a:pt x="2777" y="979"/>
                </a:lnTo>
                <a:lnTo>
                  <a:pt x="2777" y="979"/>
                </a:lnTo>
                <a:lnTo>
                  <a:pt x="2761" y="997"/>
                </a:lnTo>
                <a:lnTo>
                  <a:pt x="2742" y="1013"/>
                </a:lnTo>
                <a:lnTo>
                  <a:pt x="2722" y="1027"/>
                </a:lnTo>
                <a:lnTo>
                  <a:pt x="2701" y="1038"/>
                </a:lnTo>
                <a:lnTo>
                  <a:pt x="2690" y="1043"/>
                </a:lnTo>
                <a:lnTo>
                  <a:pt x="2678" y="1046"/>
                </a:lnTo>
                <a:lnTo>
                  <a:pt x="2667" y="1048"/>
                </a:lnTo>
                <a:lnTo>
                  <a:pt x="2656" y="1050"/>
                </a:lnTo>
                <a:lnTo>
                  <a:pt x="2644" y="1050"/>
                </a:lnTo>
                <a:lnTo>
                  <a:pt x="2633" y="1048"/>
                </a:lnTo>
                <a:lnTo>
                  <a:pt x="2622" y="1047"/>
                </a:lnTo>
                <a:lnTo>
                  <a:pt x="2612" y="1043"/>
                </a:lnTo>
                <a:lnTo>
                  <a:pt x="2612" y="1043"/>
                </a:lnTo>
                <a:lnTo>
                  <a:pt x="2596" y="1036"/>
                </a:lnTo>
                <a:lnTo>
                  <a:pt x="2583" y="1031"/>
                </a:lnTo>
                <a:lnTo>
                  <a:pt x="2566" y="1026"/>
                </a:lnTo>
                <a:lnTo>
                  <a:pt x="2404" y="983"/>
                </a:lnTo>
                <a:lnTo>
                  <a:pt x="2337" y="970"/>
                </a:lnTo>
                <a:lnTo>
                  <a:pt x="2289" y="967"/>
                </a:lnTo>
                <a:lnTo>
                  <a:pt x="2289" y="967"/>
                </a:lnTo>
                <a:lnTo>
                  <a:pt x="2277" y="966"/>
                </a:lnTo>
                <a:lnTo>
                  <a:pt x="2267" y="963"/>
                </a:lnTo>
                <a:lnTo>
                  <a:pt x="2257" y="959"/>
                </a:lnTo>
                <a:lnTo>
                  <a:pt x="2247" y="953"/>
                </a:lnTo>
                <a:lnTo>
                  <a:pt x="2237" y="947"/>
                </a:lnTo>
                <a:lnTo>
                  <a:pt x="2229" y="940"/>
                </a:lnTo>
                <a:lnTo>
                  <a:pt x="2220" y="932"/>
                </a:lnTo>
                <a:lnTo>
                  <a:pt x="2212" y="923"/>
                </a:lnTo>
                <a:lnTo>
                  <a:pt x="2198" y="903"/>
                </a:lnTo>
                <a:lnTo>
                  <a:pt x="2186" y="882"/>
                </a:lnTo>
                <a:lnTo>
                  <a:pt x="2176" y="859"/>
                </a:lnTo>
                <a:lnTo>
                  <a:pt x="2171" y="836"/>
                </a:lnTo>
                <a:lnTo>
                  <a:pt x="2171" y="836"/>
                </a:lnTo>
                <a:lnTo>
                  <a:pt x="2162" y="801"/>
                </a:lnTo>
                <a:lnTo>
                  <a:pt x="2142" y="710"/>
                </a:lnTo>
                <a:lnTo>
                  <a:pt x="2127" y="649"/>
                </a:lnTo>
                <a:lnTo>
                  <a:pt x="2109" y="582"/>
                </a:lnTo>
                <a:lnTo>
                  <a:pt x="2088" y="511"/>
                </a:lnTo>
                <a:lnTo>
                  <a:pt x="2064" y="437"/>
                </a:lnTo>
                <a:lnTo>
                  <a:pt x="2064" y="437"/>
                </a:lnTo>
                <a:lnTo>
                  <a:pt x="2034" y="351"/>
                </a:lnTo>
                <a:lnTo>
                  <a:pt x="2004" y="276"/>
                </a:lnTo>
                <a:lnTo>
                  <a:pt x="1979" y="213"/>
                </a:lnTo>
                <a:lnTo>
                  <a:pt x="1959" y="168"/>
                </a:lnTo>
                <a:lnTo>
                  <a:pt x="1902" y="47"/>
                </a:lnTo>
                <a:lnTo>
                  <a:pt x="1902" y="47"/>
                </a:lnTo>
                <a:lnTo>
                  <a:pt x="1896" y="37"/>
                </a:lnTo>
                <a:lnTo>
                  <a:pt x="1886" y="27"/>
                </a:lnTo>
                <a:lnTo>
                  <a:pt x="1875" y="18"/>
                </a:lnTo>
                <a:lnTo>
                  <a:pt x="1861" y="11"/>
                </a:lnTo>
                <a:lnTo>
                  <a:pt x="1845" y="6"/>
                </a:lnTo>
                <a:lnTo>
                  <a:pt x="1829" y="1"/>
                </a:lnTo>
                <a:lnTo>
                  <a:pt x="1812" y="0"/>
                </a:lnTo>
                <a:lnTo>
                  <a:pt x="1795" y="1"/>
                </a:lnTo>
                <a:lnTo>
                  <a:pt x="1785" y="4"/>
                </a:lnTo>
                <a:lnTo>
                  <a:pt x="1785" y="4"/>
                </a:lnTo>
                <a:lnTo>
                  <a:pt x="1674" y="28"/>
                </a:lnTo>
                <a:lnTo>
                  <a:pt x="1609" y="44"/>
                </a:lnTo>
                <a:lnTo>
                  <a:pt x="1576" y="53"/>
                </a:lnTo>
                <a:lnTo>
                  <a:pt x="1565" y="55"/>
                </a:lnTo>
                <a:lnTo>
                  <a:pt x="1559" y="58"/>
                </a:lnTo>
                <a:lnTo>
                  <a:pt x="1431" y="100"/>
                </a:lnTo>
                <a:lnTo>
                  <a:pt x="1431" y="100"/>
                </a:lnTo>
                <a:lnTo>
                  <a:pt x="1387" y="117"/>
                </a:lnTo>
                <a:lnTo>
                  <a:pt x="1348" y="132"/>
                </a:lnTo>
                <a:lnTo>
                  <a:pt x="1310" y="148"/>
                </a:lnTo>
                <a:lnTo>
                  <a:pt x="1310" y="148"/>
                </a:lnTo>
                <a:lnTo>
                  <a:pt x="1294" y="156"/>
                </a:lnTo>
                <a:lnTo>
                  <a:pt x="1282" y="166"/>
                </a:lnTo>
                <a:lnTo>
                  <a:pt x="1269" y="178"/>
                </a:lnTo>
                <a:lnTo>
                  <a:pt x="1259" y="191"/>
                </a:lnTo>
                <a:lnTo>
                  <a:pt x="1252" y="205"/>
                </a:lnTo>
                <a:lnTo>
                  <a:pt x="1246" y="218"/>
                </a:lnTo>
                <a:lnTo>
                  <a:pt x="1243" y="230"/>
                </a:lnTo>
                <a:lnTo>
                  <a:pt x="1243" y="243"/>
                </a:lnTo>
                <a:lnTo>
                  <a:pt x="1243" y="249"/>
                </a:lnTo>
                <a:lnTo>
                  <a:pt x="1243" y="249"/>
                </a:lnTo>
                <a:lnTo>
                  <a:pt x="1253" y="312"/>
                </a:lnTo>
                <a:lnTo>
                  <a:pt x="1269" y="410"/>
                </a:lnTo>
                <a:lnTo>
                  <a:pt x="1279" y="468"/>
                </a:lnTo>
                <a:lnTo>
                  <a:pt x="1292" y="529"/>
                </a:lnTo>
                <a:lnTo>
                  <a:pt x="1306" y="595"/>
                </a:lnTo>
                <a:lnTo>
                  <a:pt x="1323" y="659"/>
                </a:lnTo>
                <a:lnTo>
                  <a:pt x="1323" y="659"/>
                </a:lnTo>
                <a:lnTo>
                  <a:pt x="1341" y="730"/>
                </a:lnTo>
                <a:lnTo>
                  <a:pt x="1363" y="798"/>
                </a:lnTo>
                <a:lnTo>
                  <a:pt x="1384" y="862"/>
                </a:lnTo>
                <a:lnTo>
                  <a:pt x="1404" y="919"/>
                </a:lnTo>
                <a:lnTo>
                  <a:pt x="1437" y="1009"/>
                </a:lnTo>
                <a:lnTo>
                  <a:pt x="1454" y="1051"/>
                </a:lnTo>
                <a:lnTo>
                  <a:pt x="1457" y="1060"/>
                </a:lnTo>
                <a:lnTo>
                  <a:pt x="1457" y="1060"/>
                </a:lnTo>
                <a:lnTo>
                  <a:pt x="1464" y="1082"/>
                </a:lnTo>
                <a:lnTo>
                  <a:pt x="1467" y="1107"/>
                </a:lnTo>
                <a:lnTo>
                  <a:pt x="1468" y="1129"/>
                </a:lnTo>
                <a:lnTo>
                  <a:pt x="1465" y="1151"/>
                </a:lnTo>
                <a:lnTo>
                  <a:pt x="1459" y="1172"/>
                </a:lnTo>
                <a:lnTo>
                  <a:pt x="1452" y="1191"/>
                </a:lnTo>
                <a:lnTo>
                  <a:pt x="1448" y="1201"/>
                </a:lnTo>
                <a:lnTo>
                  <a:pt x="1442" y="1209"/>
                </a:lnTo>
                <a:lnTo>
                  <a:pt x="1437" y="1216"/>
                </a:lnTo>
                <a:lnTo>
                  <a:pt x="1430" y="1223"/>
                </a:lnTo>
                <a:lnTo>
                  <a:pt x="1430" y="1223"/>
                </a:lnTo>
                <a:lnTo>
                  <a:pt x="1415" y="1233"/>
                </a:lnTo>
                <a:lnTo>
                  <a:pt x="1385" y="1259"/>
                </a:lnTo>
                <a:lnTo>
                  <a:pt x="1347" y="1294"/>
                </a:lnTo>
                <a:lnTo>
                  <a:pt x="1326" y="1316"/>
                </a:lnTo>
                <a:lnTo>
                  <a:pt x="1304" y="1337"/>
                </a:lnTo>
                <a:lnTo>
                  <a:pt x="1304" y="1337"/>
                </a:lnTo>
                <a:lnTo>
                  <a:pt x="1290" y="1351"/>
                </a:lnTo>
                <a:lnTo>
                  <a:pt x="1277" y="1366"/>
                </a:lnTo>
                <a:lnTo>
                  <a:pt x="1255" y="1393"/>
                </a:lnTo>
                <a:lnTo>
                  <a:pt x="1255" y="1393"/>
                </a:lnTo>
                <a:lnTo>
                  <a:pt x="1240" y="1411"/>
                </a:lnTo>
                <a:lnTo>
                  <a:pt x="1226" y="1428"/>
                </a:lnTo>
                <a:lnTo>
                  <a:pt x="1226" y="1428"/>
                </a:lnTo>
                <a:lnTo>
                  <a:pt x="1215" y="1441"/>
                </a:lnTo>
                <a:lnTo>
                  <a:pt x="1208" y="1452"/>
                </a:lnTo>
                <a:lnTo>
                  <a:pt x="1201" y="1462"/>
                </a:lnTo>
                <a:lnTo>
                  <a:pt x="1201" y="1462"/>
                </a:lnTo>
                <a:lnTo>
                  <a:pt x="1195" y="1471"/>
                </a:lnTo>
                <a:lnTo>
                  <a:pt x="1188" y="1478"/>
                </a:lnTo>
                <a:lnTo>
                  <a:pt x="1181" y="1485"/>
                </a:lnTo>
                <a:lnTo>
                  <a:pt x="1172" y="1492"/>
                </a:lnTo>
                <a:lnTo>
                  <a:pt x="1164" y="1496"/>
                </a:lnTo>
                <a:lnTo>
                  <a:pt x="1154" y="1501"/>
                </a:lnTo>
                <a:lnTo>
                  <a:pt x="1134" y="1508"/>
                </a:lnTo>
                <a:lnTo>
                  <a:pt x="1114" y="1512"/>
                </a:lnTo>
                <a:lnTo>
                  <a:pt x="1092" y="1513"/>
                </a:lnTo>
                <a:lnTo>
                  <a:pt x="1071" y="1513"/>
                </a:lnTo>
                <a:lnTo>
                  <a:pt x="1050" y="1509"/>
                </a:lnTo>
                <a:lnTo>
                  <a:pt x="1048" y="1511"/>
                </a:lnTo>
                <a:lnTo>
                  <a:pt x="1026" y="1504"/>
                </a:lnTo>
                <a:lnTo>
                  <a:pt x="1026" y="1504"/>
                </a:lnTo>
                <a:lnTo>
                  <a:pt x="974" y="1486"/>
                </a:lnTo>
                <a:lnTo>
                  <a:pt x="883" y="1459"/>
                </a:lnTo>
                <a:lnTo>
                  <a:pt x="826" y="1444"/>
                </a:lnTo>
                <a:lnTo>
                  <a:pt x="764" y="1427"/>
                </a:lnTo>
                <a:lnTo>
                  <a:pt x="697" y="1411"/>
                </a:lnTo>
                <a:lnTo>
                  <a:pt x="629" y="1397"/>
                </a:lnTo>
                <a:lnTo>
                  <a:pt x="629" y="1397"/>
                </a:lnTo>
                <a:lnTo>
                  <a:pt x="559" y="1384"/>
                </a:lnTo>
                <a:lnTo>
                  <a:pt x="489" y="1373"/>
                </a:lnTo>
                <a:lnTo>
                  <a:pt x="424" y="1363"/>
                </a:lnTo>
                <a:lnTo>
                  <a:pt x="364" y="1356"/>
                </a:lnTo>
                <a:lnTo>
                  <a:pt x="266" y="1346"/>
                </a:lnTo>
                <a:lnTo>
                  <a:pt x="212" y="1341"/>
                </a:lnTo>
                <a:lnTo>
                  <a:pt x="209" y="1341"/>
                </a:lnTo>
                <a:lnTo>
                  <a:pt x="209" y="1341"/>
                </a:lnTo>
                <a:lnTo>
                  <a:pt x="208" y="1341"/>
                </a:lnTo>
                <a:lnTo>
                  <a:pt x="208" y="1341"/>
                </a:lnTo>
                <a:lnTo>
                  <a:pt x="195" y="1343"/>
                </a:lnTo>
                <a:lnTo>
                  <a:pt x="182" y="1347"/>
                </a:lnTo>
                <a:lnTo>
                  <a:pt x="169" y="1354"/>
                </a:lnTo>
                <a:lnTo>
                  <a:pt x="156" y="1363"/>
                </a:lnTo>
                <a:lnTo>
                  <a:pt x="144" y="1373"/>
                </a:lnTo>
                <a:lnTo>
                  <a:pt x="132" y="1385"/>
                </a:lnTo>
                <a:lnTo>
                  <a:pt x="124" y="1400"/>
                </a:lnTo>
                <a:lnTo>
                  <a:pt x="115" y="1415"/>
                </a:lnTo>
                <a:lnTo>
                  <a:pt x="115" y="1415"/>
                </a:lnTo>
                <a:lnTo>
                  <a:pt x="108" y="1435"/>
                </a:lnTo>
                <a:lnTo>
                  <a:pt x="92" y="1488"/>
                </a:lnTo>
                <a:lnTo>
                  <a:pt x="81" y="1526"/>
                </a:lnTo>
                <a:lnTo>
                  <a:pt x="81" y="1526"/>
                </a:lnTo>
                <a:lnTo>
                  <a:pt x="63" y="1589"/>
                </a:lnTo>
                <a:lnTo>
                  <a:pt x="44" y="1657"/>
                </a:lnTo>
                <a:lnTo>
                  <a:pt x="11" y="1828"/>
                </a:lnTo>
                <a:lnTo>
                  <a:pt x="11" y="1828"/>
                </a:lnTo>
                <a:lnTo>
                  <a:pt x="6" y="1856"/>
                </a:lnTo>
                <a:lnTo>
                  <a:pt x="3" y="1879"/>
                </a:lnTo>
                <a:lnTo>
                  <a:pt x="1" y="1900"/>
                </a:lnTo>
                <a:lnTo>
                  <a:pt x="1" y="1900"/>
                </a:lnTo>
                <a:lnTo>
                  <a:pt x="0" y="1920"/>
                </a:lnTo>
                <a:lnTo>
                  <a:pt x="3" y="1937"/>
                </a:lnTo>
                <a:lnTo>
                  <a:pt x="7" y="1954"/>
                </a:lnTo>
                <a:lnTo>
                  <a:pt x="14" y="1970"/>
                </a:lnTo>
                <a:lnTo>
                  <a:pt x="21" y="1984"/>
                </a:lnTo>
                <a:lnTo>
                  <a:pt x="31" y="1996"/>
                </a:lnTo>
                <a:lnTo>
                  <a:pt x="41" y="2006"/>
                </a:lnTo>
                <a:lnTo>
                  <a:pt x="51" y="2011"/>
                </a:lnTo>
                <a:lnTo>
                  <a:pt x="51" y="2011"/>
                </a:lnTo>
                <a:lnTo>
                  <a:pt x="85" y="2026"/>
                </a:lnTo>
                <a:lnTo>
                  <a:pt x="124" y="2041"/>
                </a:lnTo>
                <a:lnTo>
                  <a:pt x="174" y="2060"/>
                </a:lnTo>
                <a:lnTo>
                  <a:pt x="174" y="2060"/>
                </a:lnTo>
                <a:lnTo>
                  <a:pt x="242" y="2084"/>
                </a:lnTo>
                <a:lnTo>
                  <a:pt x="312" y="2108"/>
                </a:lnTo>
                <a:lnTo>
                  <a:pt x="381" y="2129"/>
                </a:lnTo>
                <a:lnTo>
                  <a:pt x="451" y="2149"/>
                </a:lnTo>
                <a:lnTo>
                  <a:pt x="451" y="2149"/>
                </a:lnTo>
                <a:lnTo>
                  <a:pt x="518" y="2168"/>
                </a:lnTo>
                <a:lnTo>
                  <a:pt x="589" y="2185"/>
                </a:lnTo>
                <a:lnTo>
                  <a:pt x="659" y="2199"/>
                </a:lnTo>
                <a:lnTo>
                  <a:pt x="727" y="2212"/>
                </a:lnTo>
                <a:lnTo>
                  <a:pt x="855" y="2232"/>
                </a:lnTo>
                <a:lnTo>
                  <a:pt x="855" y="2232"/>
                </a:lnTo>
                <a:lnTo>
                  <a:pt x="869" y="2235"/>
                </a:lnTo>
                <a:lnTo>
                  <a:pt x="882" y="2238"/>
                </a:lnTo>
                <a:lnTo>
                  <a:pt x="895" y="2242"/>
                </a:lnTo>
                <a:lnTo>
                  <a:pt x="906" y="2246"/>
                </a:lnTo>
                <a:lnTo>
                  <a:pt x="917" y="2252"/>
                </a:lnTo>
                <a:lnTo>
                  <a:pt x="929" y="2259"/>
                </a:lnTo>
                <a:lnTo>
                  <a:pt x="939" y="2265"/>
                </a:lnTo>
                <a:lnTo>
                  <a:pt x="949" y="2272"/>
                </a:lnTo>
                <a:lnTo>
                  <a:pt x="957" y="2280"/>
                </a:lnTo>
                <a:lnTo>
                  <a:pt x="964" y="2289"/>
                </a:lnTo>
                <a:lnTo>
                  <a:pt x="972" y="2297"/>
                </a:lnTo>
                <a:lnTo>
                  <a:pt x="977" y="2306"/>
                </a:lnTo>
                <a:lnTo>
                  <a:pt x="983" y="2316"/>
                </a:lnTo>
                <a:lnTo>
                  <a:pt x="986" y="2326"/>
                </a:lnTo>
                <a:lnTo>
                  <a:pt x="989" y="2334"/>
                </a:lnTo>
                <a:lnTo>
                  <a:pt x="990" y="2344"/>
                </a:lnTo>
                <a:lnTo>
                  <a:pt x="990" y="2344"/>
                </a:lnTo>
                <a:lnTo>
                  <a:pt x="1000" y="2395"/>
                </a:lnTo>
                <a:lnTo>
                  <a:pt x="1013" y="2447"/>
                </a:lnTo>
                <a:lnTo>
                  <a:pt x="1028" y="2505"/>
                </a:lnTo>
                <a:lnTo>
                  <a:pt x="1037" y="2535"/>
                </a:lnTo>
                <a:lnTo>
                  <a:pt x="1037" y="2535"/>
                </a:lnTo>
                <a:lnTo>
                  <a:pt x="1051" y="2576"/>
                </a:lnTo>
                <a:lnTo>
                  <a:pt x="1058" y="2593"/>
                </a:lnTo>
                <a:lnTo>
                  <a:pt x="1064" y="2609"/>
                </a:lnTo>
                <a:lnTo>
                  <a:pt x="1087" y="2663"/>
                </a:lnTo>
                <a:lnTo>
                  <a:pt x="1087" y="2663"/>
                </a:lnTo>
                <a:lnTo>
                  <a:pt x="1091" y="2673"/>
                </a:lnTo>
                <a:lnTo>
                  <a:pt x="1092" y="2683"/>
                </a:lnTo>
                <a:lnTo>
                  <a:pt x="1094" y="2694"/>
                </a:lnTo>
                <a:lnTo>
                  <a:pt x="1094" y="2706"/>
                </a:lnTo>
                <a:lnTo>
                  <a:pt x="1094" y="2715"/>
                </a:lnTo>
                <a:lnTo>
                  <a:pt x="1092" y="2727"/>
                </a:lnTo>
                <a:lnTo>
                  <a:pt x="1087" y="2750"/>
                </a:lnTo>
                <a:lnTo>
                  <a:pt x="1078" y="2771"/>
                </a:lnTo>
                <a:lnTo>
                  <a:pt x="1067" y="2791"/>
                </a:lnTo>
                <a:lnTo>
                  <a:pt x="1051" y="2811"/>
                </a:lnTo>
                <a:lnTo>
                  <a:pt x="1034" y="2828"/>
                </a:lnTo>
                <a:lnTo>
                  <a:pt x="1034" y="2828"/>
                </a:lnTo>
                <a:lnTo>
                  <a:pt x="1006" y="2852"/>
                </a:lnTo>
                <a:lnTo>
                  <a:pt x="937" y="2916"/>
                </a:lnTo>
                <a:lnTo>
                  <a:pt x="892" y="2960"/>
                </a:lnTo>
                <a:lnTo>
                  <a:pt x="843" y="3008"/>
                </a:lnTo>
                <a:lnTo>
                  <a:pt x="792" y="3063"/>
                </a:lnTo>
                <a:lnTo>
                  <a:pt x="741" y="3119"/>
                </a:lnTo>
                <a:lnTo>
                  <a:pt x="741" y="3119"/>
                </a:lnTo>
                <a:lnTo>
                  <a:pt x="691" y="3178"/>
                </a:lnTo>
                <a:lnTo>
                  <a:pt x="644" y="3236"/>
                </a:lnTo>
                <a:lnTo>
                  <a:pt x="600" y="3293"/>
                </a:lnTo>
                <a:lnTo>
                  <a:pt x="562" y="3344"/>
                </a:lnTo>
                <a:lnTo>
                  <a:pt x="505" y="3422"/>
                </a:lnTo>
                <a:lnTo>
                  <a:pt x="484" y="3454"/>
                </a:lnTo>
                <a:lnTo>
                  <a:pt x="484" y="3454"/>
                </a:lnTo>
                <a:lnTo>
                  <a:pt x="478" y="3467"/>
                </a:lnTo>
                <a:lnTo>
                  <a:pt x="474" y="3479"/>
                </a:lnTo>
                <a:lnTo>
                  <a:pt x="474" y="3495"/>
                </a:lnTo>
                <a:lnTo>
                  <a:pt x="474" y="3511"/>
                </a:lnTo>
                <a:lnTo>
                  <a:pt x="478" y="3526"/>
                </a:lnTo>
                <a:lnTo>
                  <a:pt x="484" y="3542"/>
                </a:lnTo>
                <a:lnTo>
                  <a:pt x="491" y="3558"/>
                </a:lnTo>
                <a:lnTo>
                  <a:pt x="501" y="3570"/>
                </a:lnTo>
                <a:lnTo>
                  <a:pt x="501" y="3570"/>
                </a:lnTo>
                <a:lnTo>
                  <a:pt x="525" y="3600"/>
                </a:lnTo>
                <a:lnTo>
                  <a:pt x="549" y="3629"/>
                </a:lnTo>
                <a:lnTo>
                  <a:pt x="579" y="3660"/>
                </a:lnTo>
                <a:lnTo>
                  <a:pt x="666" y="3747"/>
                </a:lnTo>
                <a:lnTo>
                  <a:pt x="670" y="3752"/>
                </a:lnTo>
                <a:lnTo>
                  <a:pt x="670" y="3752"/>
                </a:lnTo>
                <a:lnTo>
                  <a:pt x="694" y="3775"/>
                </a:lnTo>
                <a:lnTo>
                  <a:pt x="741" y="3815"/>
                </a:lnTo>
                <a:lnTo>
                  <a:pt x="868" y="3920"/>
                </a:lnTo>
                <a:lnTo>
                  <a:pt x="868" y="3920"/>
                </a:lnTo>
                <a:lnTo>
                  <a:pt x="882" y="3929"/>
                </a:lnTo>
                <a:lnTo>
                  <a:pt x="898" y="3935"/>
                </a:lnTo>
                <a:lnTo>
                  <a:pt x="915" y="3939"/>
                </a:lnTo>
                <a:lnTo>
                  <a:pt x="932" y="3940"/>
                </a:lnTo>
                <a:lnTo>
                  <a:pt x="947" y="3939"/>
                </a:lnTo>
                <a:lnTo>
                  <a:pt x="962" y="3937"/>
                </a:lnTo>
                <a:lnTo>
                  <a:pt x="974" y="3933"/>
                </a:lnTo>
                <a:lnTo>
                  <a:pt x="986" y="3926"/>
                </a:lnTo>
                <a:lnTo>
                  <a:pt x="986" y="3926"/>
                </a:lnTo>
                <a:lnTo>
                  <a:pt x="1016" y="3903"/>
                </a:lnTo>
                <a:lnTo>
                  <a:pt x="1090" y="3843"/>
                </a:lnTo>
                <a:lnTo>
                  <a:pt x="1139" y="3802"/>
                </a:lnTo>
                <a:lnTo>
                  <a:pt x="1192" y="3757"/>
                </a:lnTo>
                <a:lnTo>
                  <a:pt x="1247" y="3705"/>
                </a:lnTo>
                <a:lnTo>
                  <a:pt x="1303" y="3651"/>
                </a:lnTo>
                <a:lnTo>
                  <a:pt x="1303" y="3651"/>
                </a:lnTo>
                <a:lnTo>
                  <a:pt x="1358" y="3596"/>
                </a:lnTo>
                <a:lnTo>
                  <a:pt x="1408" y="3542"/>
                </a:lnTo>
                <a:lnTo>
                  <a:pt x="1455" y="3489"/>
                </a:lnTo>
                <a:lnTo>
                  <a:pt x="1495" y="3442"/>
                </a:lnTo>
                <a:lnTo>
                  <a:pt x="1555" y="3371"/>
                </a:lnTo>
                <a:lnTo>
                  <a:pt x="1577" y="3343"/>
                </a:lnTo>
                <a:lnTo>
                  <a:pt x="1577" y="3343"/>
                </a:lnTo>
                <a:lnTo>
                  <a:pt x="1593" y="3324"/>
                </a:lnTo>
                <a:lnTo>
                  <a:pt x="1612" y="3307"/>
                </a:lnTo>
                <a:lnTo>
                  <a:pt x="1632" y="3293"/>
                </a:lnTo>
                <a:lnTo>
                  <a:pt x="1653" y="3283"/>
                </a:lnTo>
                <a:lnTo>
                  <a:pt x="1664" y="3279"/>
                </a:lnTo>
                <a:lnTo>
                  <a:pt x="1676" y="3274"/>
                </a:lnTo>
                <a:lnTo>
                  <a:pt x="1687" y="3273"/>
                </a:lnTo>
                <a:lnTo>
                  <a:pt x="1698" y="3272"/>
                </a:lnTo>
                <a:lnTo>
                  <a:pt x="1710" y="3270"/>
                </a:lnTo>
                <a:lnTo>
                  <a:pt x="1721" y="3272"/>
                </a:lnTo>
                <a:lnTo>
                  <a:pt x="1731" y="3274"/>
                </a:lnTo>
                <a:lnTo>
                  <a:pt x="1742" y="3279"/>
                </a:lnTo>
                <a:lnTo>
                  <a:pt x="1742" y="3279"/>
                </a:lnTo>
                <a:lnTo>
                  <a:pt x="1757" y="3284"/>
                </a:lnTo>
                <a:lnTo>
                  <a:pt x="1771" y="3290"/>
                </a:lnTo>
                <a:lnTo>
                  <a:pt x="1788" y="3296"/>
                </a:lnTo>
                <a:lnTo>
                  <a:pt x="1903" y="3329"/>
                </a:lnTo>
                <a:lnTo>
                  <a:pt x="2016" y="3350"/>
                </a:lnTo>
                <a:lnTo>
                  <a:pt x="2065" y="3354"/>
                </a:lnTo>
                <a:lnTo>
                  <a:pt x="2065" y="3354"/>
                </a:lnTo>
                <a:lnTo>
                  <a:pt x="2077" y="3356"/>
                </a:lnTo>
                <a:lnTo>
                  <a:pt x="2087" y="3358"/>
                </a:lnTo>
                <a:lnTo>
                  <a:pt x="2097" y="3363"/>
                </a:lnTo>
                <a:lnTo>
                  <a:pt x="2107" y="3368"/>
                </a:lnTo>
                <a:lnTo>
                  <a:pt x="2117" y="3374"/>
                </a:lnTo>
                <a:lnTo>
                  <a:pt x="2125" y="3381"/>
                </a:lnTo>
                <a:lnTo>
                  <a:pt x="2134" y="3390"/>
                </a:lnTo>
                <a:lnTo>
                  <a:pt x="2142" y="3398"/>
                </a:lnTo>
                <a:lnTo>
                  <a:pt x="2156" y="3418"/>
                </a:lnTo>
                <a:lnTo>
                  <a:pt x="2168" y="3439"/>
                </a:lnTo>
                <a:lnTo>
                  <a:pt x="2178" y="3462"/>
                </a:lnTo>
                <a:lnTo>
                  <a:pt x="2183" y="3485"/>
                </a:lnTo>
                <a:lnTo>
                  <a:pt x="2183" y="3485"/>
                </a:lnTo>
                <a:lnTo>
                  <a:pt x="2191" y="3521"/>
                </a:lnTo>
                <a:lnTo>
                  <a:pt x="2212" y="3612"/>
                </a:lnTo>
                <a:lnTo>
                  <a:pt x="2226" y="3671"/>
                </a:lnTo>
                <a:lnTo>
                  <a:pt x="2245" y="3740"/>
                </a:lnTo>
                <a:lnTo>
                  <a:pt x="2266" y="3811"/>
                </a:lnTo>
                <a:lnTo>
                  <a:pt x="2290" y="3885"/>
                </a:lnTo>
                <a:lnTo>
                  <a:pt x="2290" y="3885"/>
                </a:lnTo>
                <a:lnTo>
                  <a:pt x="2320" y="3970"/>
                </a:lnTo>
                <a:lnTo>
                  <a:pt x="2348" y="4045"/>
                </a:lnTo>
                <a:lnTo>
                  <a:pt x="2374" y="4107"/>
                </a:lnTo>
                <a:lnTo>
                  <a:pt x="2394" y="4154"/>
                </a:lnTo>
                <a:lnTo>
                  <a:pt x="2451" y="4273"/>
                </a:lnTo>
                <a:lnTo>
                  <a:pt x="2451" y="4273"/>
                </a:lnTo>
                <a:lnTo>
                  <a:pt x="2458" y="4283"/>
                </a:lnTo>
                <a:lnTo>
                  <a:pt x="2468" y="4293"/>
                </a:lnTo>
                <a:lnTo>
                  <a:pt x="2481" y="4302"/>
                </a:lnTo>
                <a:lnTo>
                  <a:pt x="2495" y="4310"/>
                </a:lnTo>
                <a:lnTo>
                  <a:pt x="2511" y="4316"/>
                </a:lnTo>
                <a:lnTo>
                  <a:pt x="2526" y="4319"/>
                </a:lnTo>
                <a:lnTo>
                  <a:pt x="2543" y="4320"/>
                </a:lnTo>
                <a:lnTo>
                  <a:pt x="2559" y="4319"/>
                </a:lnTo>
                <a:lnTo>
                  <a:pt x="2653" y="4299"/>
                </a:lnTo>
                <a:lnTo>
                  <a:pt x="2653" y="4299"/>
                </a:lnTo>
                <a:lnTo>
                  <a:pt x="2725" y="4283"/>
                </a:lnTo>
                <a:lnTo>
                  <a:pt x="2765" y="4272"/>
                </a:lnTo>
                <a:lnTo>
                  <a:pt x="2805" y="4260"/>
                </a:lnTo>
                <a:lnTo>
                  <a:pt x="2805" y="4260"/>
                </a:lnTo>
                <a:lnTo>
                  <a:pt x="2845" y="4247"/>
                </a:lnTo>
                <a:lnTo>
                  <a:pt x="2883" y="4235"/>
                </a:lnTo>
                <a:lnTo>
                  <a:pt x="2953" y="4209"/>
                </a:lnTo>
                <a:lnTo>
                  <a:pt x="3008" y="4188"/>
                </a:lnTo>
                <a:lnTo>
                  <a:pt x="3043" y="4173"/>
                </a:lnTo>
                <a:lnTo>
                  <a:pt x="3051" y="4169"/>
                </a:lnTo>
                <a:lnTo>
                  <a:pt x="3051" y="4169"/>
                </a:lnTo>
                <a:lnTo>
                  <a:pt x="3065" y="4161"/>
                </a:lnTo>
                <a:lnTo>
                  <a:pt x="3077" y="4151"/>
                </a:lnTo>
                <a:lnTo>
                  <a:pt x="3088" y="4139"/>
                </a:lnTo>
                <a:lnTo>
                  <a:pt x="3097" y="4127"/>
                </a:lnTo>
                <a:lnTo>
                  <a:pt x="3104" y="4114"/>
                </a:lnTo>
                <a:lnTo>
                  <a:pt x="3108" y="4101"/>
                </a:lnTo>
                <a:lnTo>
                  <a:pt x="3111" y="4088"/>
                </a:lnTo>
                <a:lnTo>
                  <a:pt x="3111" y="4077"/>
                </a:lnTo>
                <a:lnTo>
                  <a:pt x="3111" y="4077"/>
                </a:lnTo>
                <a:lnTo>
                  <a:pt x="3105" y="4038"/>
                </a:lnTo>
                <a:lnTo>
                  <a:pt x="3091" y="3942"/>
                </a:lnTo>
                <a:lnTo>
                  <a:pt x="3080" y="3879"/>
                </a:lnTo>
                <a:lnTo>
                  <a:pt x="3065" y="3809"/>
                </a:lnTo>
                <a:lnTo>
                  <a:pt x="3050" y="3737"/>
                </a:lnTo>
                <a:lnTo>
                  <a:pt x="3031" y="3663"/>
                </a:lnTo>
                <a:lnTo>
                  <a:pt x="3031" y="3663"/>
                </a:lnTo>
                <a:lnTo>
                  <a:pt x="3011" y="3587"/>
                </a:lnTo>
                <a:lnTo>
                  <a:pt x="2988" y="3516"/>
                </a:lnTo>
                <a:lnTo>
                  <a:pt x="2967" y="3449"/>
                </a:lnTo>
                <a:lnTo>
                  <a:pt x="2946" y="3391"/>
                </a:lnTo>
                <a:lnTo>
                  <a:pt x="2913" y="3303"/>
                </a:lnTo>
                <a:lnTo>
                  <a:pt x="2900" y="3269"/>
                </a:lnTo>
                <a:lnTo>
                  <a:pt x="2900" y="3269"/>
                </a:lnTo>
                <a:lnTo>
                  <a:pt x="2893" y="3249"/>
                </a:lnTo>
                <a:lnTo>
                  <a:pt x="2889" y="3228"/>
                </a:lnTo>
                <a:lnTo>
                  <a:pt x="2886" y="3206"/>
                </a:lnTo>
                <a:lnTo>
                  <a:pt x="2887" y="3186"/>
                </a:lnTo>
                <a:lnTo>
                  <a:pt x="2889" y="3166"/>
                </a:lnTo>
                <a:lnTo>
                  <a:pt x="2895" y="3146"/>
                </a:lnTo>
                <a:lnTo>
                  <a:pt x="2902" y="3129"/>
                </a:lnTo>
                <a:lnTo>
                  <a:pt x="2910" y="3114"/>
                </a:lnTo>
                <a:lnTo>
                  <a:pt x="2910" y="3108"/>
                </a:lnTo>
                <a:lnTo>
                  <a:pt x="2929" y="3095"/>
                </a:lnTo>
                <a:lnTo>
                  <a:pt x="2929" y="3095"/>
                </a:lnTo>
                <a:lnTo>
                  <a:pt x="2947" y="3080"/>
                </a:lnTo>
                <a:lnTo>
                  <a:pt x="2977" y="3054"/>
                </a:lnTo>
                <a:lnTo>
                  <a:pt x="3013" y="3021"/>
                </a:lnTo>
                <a:lnTo>
                  <a:pt x="3050" y="2983"/>
                </a:lnTo>
                <a:lnTo>
                  <a:pt x="3050" y="2983"/>
                </a:lnTo>
                <a:lnTo>
                  <a:pt x="3064" y="2969"/>
                </a:lnTo>
                <a:lnTo>
                  <a:pt x="3077" y="2956"/>
                </a:lnTo>
                <a:lnTo>
                  <a:pt x="3098" y="2929"/>
                </a:lnTo>
                <a:lnTo>
                  <a:pt x="3098" y="2929"/>
                </a:lnTo>
                <a:lnTo>
                  <a:pt x="3112" y="2910"/>
                </a:lnTo>
                <a:lnTo>
                  <a:pt x="3128" y="2893"/>
                </a:lnTo>
                <a:lnTo>
                  <a:pt x="3128" y="2893"/>
                </a:lnTo>
                <a:lnTo>
                  <a:pt x="3138" y="2879"/>
                </a:lnTo>
                <a:lnTo>
                  <a:pt x="3146" y="2869"/>
                </a:lnTo>
                <a:lnTo>
                  <a:pt x="3153" y="2859"/>
                </a:lnTo>
                <a:lnTo>
                  <a:pt x="3153" y="2859"/>
                </a:lnTo>
                <a:lnTo>
                  <a:pt x="3161" y="2849"/>
                </a:lnTo>
                <a:lnTo>
                  <a:pt x="3168" y="2841"/>
                </a:lnTo>
                <a:lnTo>
                  <a:pt x="3176" y="2834"/>
                </a:lnTo>
                <a:lnTo>
                  <a:pt x="3186" y="2826"/>
                </a:lnTo>
                <a:lnTo>
                  <a:pt x="3198" y="2821"/>
                </a:lnTo>
                <a:lnTo>
                  <a:pt x="3208" y="2816"/>
                </a:lnTo>
                <a:lnTo>
                  <a:pt x="3219" y="2814"/>
                </a:lnTo>
                <a:lnTo>
                  <a:pt x="3232" y="2811"/>
                </a:lnTo>
                <a:lnTo>
                  <a:pt x="3243" y="2808"/>
                </a:lnTo>
                <a:lnTo>
                  <a:pt x="3256" y="2808"/>
                </a:lnTo>
                <a:lnTo>
                  <a:pt x="3280" y="2808"/>
                </a:lnTo>
                <a:lnTo>
                  <a:pt x="3304" y="2811"/>
                </a:lnTo>
                <a:lnTo>
                  <a:pt x="3327" y="2818"/>
                </a:lnTo>
                <a:lnTo>
                  <a:pt x="3327" y="2818"/>
                </a:lnTo>
                <a:lnTo>
                  <a:pt x="3361" y="2829"/>
                </a:lnTo>
                <a:lnTo>
                  <a:pt x="3451" y="2856"/>
                </a:lnTo>
                <a:lnTo>
                  <a:pt x="3511" y="2873"/>
                </a:lnTo>
                <a:lnTo>
                  <a:pt x="3577" y="2890"/>
                </a:lnTo>
                <a:lnTo>
                  <a:pt x="3650" y="2909"/>
                </a:lnTo>
                <a:lnTo>
                  <a:pt x="3725" y="2925"/>
                </a:lnTo>
                <a:lnTo>
                  <a:pt x="3725" y="2925"/>
                </a:lnTo>
                <a:lnTo>
                  <a:pt x="3795" y="2937"/>
                </a:lnTo>
                <a:lnTo>
                  <a:pt x="3865" y="2949"/>
                </a:lnTo>
                <a:lnTo>
                  <a:pt x="3930" y="2959"/>
                </a:lnTo>
                <a:lnTo>
                  <a:pt x="3990" y="2966"/>
                </a:lnTo>
                <a:lnTo>
                  <a:pt x="4088" y="2974"/>
                </a:lnTo>
                <a:lnTo>
                  <a:pt x="4142" y="2979"/>
                </a:lnTo>
                <a:lnTo>
                  <a:pt x="4145" y="2979"/>
                </a:lnTo>
                <a:lnTo>
                  <a:pt x="4145" y="2979"/>
                </a:lnTo>
                <a:lnTo>
                  <a:pt x="4158" y="2977"/>
                </a:lnTo>
                <a:lnTo>
                  <a:pt x="4172" y="2974"/>
                </a:lnTo>
                <a:lnTo>
                  <a:pt x="4185" y="2967"/>
                </a:lnTo>
                <a:lnTo>
                  <a:pt x="4198" y="2959"/>
                </a:lnTo>
                <a:lnTo>
                  <a:pt x="4209" y="2949"/>
                </a:lnTo>
                <a:lnTo>
                  <a:pt x="4220" y="2936"/>
                </a:lnTo>
                <a:lnTo>
                  <a:pt x="4230" y="2923"/>
                </a:lnTo>
                <a:lnTo>
                  <a:pt x="4237" y="2908"/>
                </a:lnTo>
                <a:lnTo>
                  <a:pt x="4237" y="2906"/>
                </a:lnTo>
                <a:lnTo>
                  <a:pt x="4237" y="2906"/>
                </a:lnTo>
                <a:lnTo>
                  <a:pt x="4252" y="2866"/>
                </a:lnTo>
                <a:lnTo>
                  <a:pt x="4274" y="2792"/>
                </a:lnTo>
                <a:lnTo>
                  <a:pt x="4307" y="2677"/>
                </a:lnTo>
                <a:lnTo>
                  <a:pt x="4307" y="2677"/>
                </a:lnTo>
                <a:lnTo>
                  <a:pt x="4331" y="2553"/>
                </a:lnTo>
                <a:lnTo>
                  <a:pt x="4350" y="2457"/>
                </a:lnTo>
                <a:lnTo>
                  <a:pt x="4353" y="2417"/>
                </a:lnTo>
                <a:lnTo>
                  <a:pt x="4353" y="2417"/>
                </a:lnTo>
                <a:lnTo>
                  <a:pt x="4353" y="2400"/>
                </a:lnTo>
                <a:lnTo>
                  <a:pt x="4351" y="2383"/>
                </a:lnTo>
                <a:lnTo>
                  <a:pt x="4345" y="2366"/>
                </a:lnTo>
                <a:lnTo>
                  <a:pt x="4340" y="2350"/>
                </a:lnTo>
                <a:lnTo>
                  <a:pt x="4331" y="2337"/>
                </a:lnTo>
                <a:lnTo>
                  <a:pt x="4323" y="2324"/>
                </a:lnTo>
                <a:lnTo>
                  <a:pt x="4313" y="2316"/>
                </a:lnTo>
                <a:lnTo>
                  <a:pt x="4303" y="2310"/>
                </a:lnTo>
                <a:lnTo>
                  <a:pt x="4303" y="2310"/>
                </a:lnTo>
                <a:close/>
                <a:moveTo>
                  <a:pt x="2176" y="2650"/>
                </a:moveTo>
                <a:lnTo>
                  <a:pt x="2176" y="2650"/>
                </a:lnTo>
                <a:lnTo>
                  <a:pt x="2152" y="2649"/>
                </a:lnTo>
                <a:lnTo>
                  <a:pt x="2127" y="2647"/>
                </a:lnTo>
                <a:lnTo>
                  <a:pt x="2102" y="2644"/>
                </a:lnTo>
                <a:lnTo>
                  <a:pt x="2078" y="2640"/>
                </a:lnTo>
                <a:lnTo>
                  <a:pt x="2055" y="2634"/>
                </a:lnTo>
                <a:lnTo>
                  <a:pt x="2031" y="2627"/>
                </a:lnTo>
                <a:lnTo>
                  <a:pt x="2008" y="2620"/>
                </a:lnTo>
                <a:lnTo>
                  <a:pt x="1987" y="2612"/>
                </a:lnTo>
                <a:lnTo>
                  <a:pt x="1964" y="2602"/>
                </a:lnTo>
                <a:lnTo>
                  <a:pt x="1944" y="2590"/>
                </a:lnTo>
                <a:lnTo>
                  <a:pt x="1923" y="2579"/>
                </a:lnTo>
                <a:lnTo>
                  <a:pt x="1903" y="2566"/>
                </a:lnTo>
                <a:lnTo>
                  <a:pt x="1885" y="2552"/>
                </a:lnTo>
                <a:lnTo>
                  <a:pt x="1866" y="2538"/>
                </a:lnTo>
                <a:lnTo>
                  <a:pt x="1848" y="2522"/>
                </a:lnTo>
                <a:lnTo>
                  <a:pt x="1831" y="2506"/>
                </a:lnTo>
                <a:lnTo>
                  <a:pt x="1815" y="2489"/>
                </a:lnTo>
                <a:lnTo>
                  <a:pt x="1799" y="2471"/>
                </a:lnTo>
                <a:lnTo>
                  <a:pt x="1785" y="2452"/>
                </a:lnTo>
                <a:lnTo>
                  <a:pt x="1771" y="2434"/>
                </a:lnTo>
                <a:lnTo>
                  <a:pt x="1758" y="2414"/>
                </a:lnTo>
                <a:lnTo>
                  <a:pt x="1747" y="2394"/>
                </a:lnTo>
                <a:lnTo>
                  <a:pt x="1737" y="2373"/>
                </a:lnTo>
                <a:lnTo>
                  <a:pt x="1727" y="2351"/>
                </a:lnTo>
                <a:lnTo>
                  <a:pt x="1718" y="2329"/>
                </a:lnTo>
                <a:lnTo>
                  <a:pt x="1710" y="2306"/>
                </a:lnTo>
                <a:lnTo>
                  <a:pt x="1703" y="2283"/>
                </a:lnTo>
                <a:lnTo>
                  <a:pt x="1698" y="2259"/>
                </a:lnTo>
                <a:lnTo>
                  <a:pt x="1694" y="2235"/>
                </a:lnTo>
                <a:lnTo>
                  <a:pt x="1690" y="2210"/>
                </a:lnTo>
                <a:lnTo>
                  <a:pt x="1688" y="2185"/>
                </a:lnTo>
                <a:lnTo>
                  <a:pt x="1688" y="2161"/>
                </a:lnTo>
                <a:lnTo>
                  <a:pt x="1688" y="2161"/>
                </a:lnTo>
                <a:lnTo>
                  <a:pt x="1688" y="2135"/>
                </a:lnTo>
                <a:lnTo>
                  <a:pt x="1690" y="2111"/>
                </a:lnTo>
                <a:lnTo>
                  <a:pt x="1694" y="2085"/>
                </a:lnTo>
                <a:lnTo>
                  <a:pt x="1698" y="2061"/>
                </a:lnTo>
                <a:lnTo>
                  <a:pt x="1703" y="2038"/>
                </a:lnTo>
                <a:lnTo>
                  <a:pt x="1710" y="2016"/>
                </a:lnTo>
                <a:lnTo>
                  <a:pt x="1718" y="1993"/>
                </a:lnTo>
                <a:lnTo>
                  <a:pt x="1727" y="1970"/>
                </a:lnTo>
                <a:lnTo>
                  <a:pt x="1737" y="1949"/>
                </a:lnTo>
                <a:lnTo>
                  <a:pt x="1747" y="1927"/>
                </a:lnTo>
                <a:lnTo>
                  <a:pt x="1758" y="1908"/>
                </a:lnTo>
                <a:lnTo>
                  <a:pt x="1771" y="1888"/>
                </a:lnTo>
                <a:lnTo>
                  <a:pt x="1785" y="1868"/>
                </a:lnTo>
                <a:lnTo>
                  <a:pt x="1799" y="1849"/>
                </a:lnTo>
                <a:lnTo>
                  <a:pt x="1815" y="1832"/>
                </a:lnTo>
                <a:lnTo>
                  <a:pt x="1831" y="1815"/>
                </a:lnTo>
                <a:lnTo>
                  <a:pt x="1848" y="1798"/>
                </a:lnTo>
                <a:lnTo>
                  <a:pt x="1866" y="1784"/>
                </a:lnTo>
                <a:lnTo>
                  <a:pt x="1885" y="1768"/>
                </a:lnTo>
                <a:lnTo>
                  <a:pt x="1903" y="1755"/>
                </a:lnTo>
                <a:lnTo>
                  <a:pt x="1923" y="1743"/>
                </a:lnTo>
                <a:lnTo>
                  <a:pt x="1944" y="1731"/>
                </a:lnTo>
                <a:lnTo>
                  <a:pt x="1964" y="1720"/>
                </a:lnTo>
                <a:lnTo>
                  <a:pt x="1987" y="1710"/>
                </a:lnTo>
                <a:lnTo>
                  <a:pt x="2008" y="1701"/>
                </a:lnTo>
                <a:lnTo>
                  <a:pt x="2031" y="1693"/>
                </a:lnTo>
                <a:lnTo>
                  <a:pt x="2055" y="1687"/>
                </a:lnTo>
                <a:lnTo>
                  <a:pt x="2078" y="1681"/>
                </a:lnTo>
                <a:lnTo>
                  <a:pt x="2102" y="1677"/>
                </a:lnTo>
                <a:lnTo>
                  <a:pt x="2127" y="1674"/>
                </a:lnTo>
                <a:lnTo>
                  <a:pt x="2152" y="1671"/>
                </a:lnTo>
                <a:lnTo>
                  <a:pt x="2176" y="1671"/>
                </a:lnTo>
                <a:lnTo>
                  <a:pt x="2176" y="1671"/>
                </a:lnTo>
                <a:lnTo>
                  <a:pt x="2202" y="1671"/>
                </a:lnTo>
                <a:lnTo>
                  <a:pt x="2227" y="1674"/>
                </a:lnTo>
                <a:lnTo>
                  <a:pt x="2252" y="1677"/>
                </a:lnTo>
                <a:lnTo>
                  <a:pt x="2276" y="1681"/>
                </a:lnTo>
                <a:lnTo>
                  <a:pt x="2299" y="1687"/>
                </a:lnTo>
                <a:lnTo>
                  <a:pt x="2323" y="1693"/>
                </a:lnTo>
                <a:lnTo>
                  <a:pt x="2346" y="1701"/>
                </a:lnTo>
                <a:lnTo>
                  <a:pt x="2367" y="1710"/>
                </a:lnTo>
                <a:lnTo>
                  <a:pt x="2388" y="1720"/>
                </a:lnTo>
                <a:lnTo>
                  <a:pt x="2410" y="1731"/>
                </a:lnTo>
                <a:lnTo>
                  <a:pt x="2431" y="1743"/>
                </a:lnTo>
                <a:lnTo>
                  <a:pt x="2451" y="1755"/>
                </a:lnTo>
                <a:lnTo>
                  <a:pt x="2469" y="1768"/>
                </a:lnTo>
                <a:lnTo>
                  <a:pt x="2488" y="1784"/>
                </a:lnTo>
                <a:lnTo>
                  <a:pt x="2506" y="1798"/>
                </a:lnTo>
                <a:lnTo>
                  <a:pt x="2522" y="1815"/>
                </a:lnTo>
                <a:lnTo>
                  <a:pt x="2539" y="1832"/>
                </a:lnTo>
                <a:lnTo>
                  <a:pt x="2555" y="1849"/>
                </a:lnTo>
                <a:lnTo>
                  <a:pt x="2569" y="1868"/>
                </a:lnTo>
                <a:lnTo>
                  <a:pt x="2582" y="1888"/>
                </a:lnTo>
                <a:lnTo>
                  <a:pt x="2594" y="1908"/>
                </a:lnTo>
                <a:lnTo>
                  <a:pt x="2607" y="1927"/>
                </a:lnTo>
                <a:lnTo>
                  <a:pt x="2617" y="1949"/>
                </a:lnTo>
                <a:lnTo>
                  <a:pt x="2627" y="1970"/>
                </a:lnTo>
                <a:lnTo>
                  <a:pt x="2636" y="1993"/>
                </a:lnTo>
                <a:lnTo>
                  <a:pt x="2644" y="2016"/>
                </a:lnTo>
                <a:lnTo>
                  <a:pt x="2650" y="2038"/>
                </a:lnTo>
                <a:lnTo>
                  <a:pt x="2656" y="2061"/>
                </a:lnTo>
                <a:lnTo>
                  <a:pt x="2660" y="2085"/>
                </a:lnTo>
                <a:lnTo>
                  <a:pt x="2663" y="2111"/>
                </a:lnTo>
                <a:lnTo>
                  <a:pt x="2666" y="2135"/>
                </a:lnTo>
                <a:lnTo>
                  <a:pt x="2666" y="2161"/>
                </a:lnTo>
                <a:lnTo>
                  <a:pt x="2666" y="2161"/>
                </a:lnTo>
                <a:lnTo>
                  <a:pt x="2666" y="2185"/>
                </a:lnTo>
                <a:lnTo>
                  <a:pt x="2663" y="2210"/>
                </a:lnTo>
                <a:lnTo>
                  <a:pt x="2660" y="2235"/>
                </a:lnTo>
                <a:lnTo>
                  <a:pt x="2656" y="2259"/>
                </a:lnTo>
                <a:lnTo>
                  <a:pt x="2650" y="2283"/>
                </a:lnTo>
                <a:lnTo>
                  <a:pt x="2644" y="2306"/>
                </a:lnTo>
                <a:lnTo>
                  <a:pt x="2636" y="2329"/>
                </a:lnTo>
                <a:lnTo>
                  <a:pt x="2627" y="2351"/>
                </a:lnTo>
                <a:lnTo>
                  <a:pt x="2617" y="2373"/>
                </a:lnTo>
                <a:lnTo>
                  <a:pt x="2607" y="2394"/>
                </a:lnTo>
                <a:lnTo>
                  <a:pt x="2594" y="2414"/>
                </a:lnTo>
                <a:lnTo>
                  <a:pt x="2582" y="2434"/>
                </a:lnTo>
                <a:lnTo>
                  <a:pt x="2569" y="2452"/>
                </a:lnTo>
                <a:lnTo>
                  <a:pt x="2555" y="2471"/>
                </a:lnTo>
                <a:lnTo>
                  <a:pt x="2539" y="2489"/>
                </a:lnTo>
                <a:lnTo>
                  <a:pt x="2522" y="2506"/>
                </a:lnTo>
                <a:lnTo>
                  <a:pt x="2506" y="2522"/>
                </a:lnTo>
                <a:lnTo>
                  <a:pt x="2488" y="2538"/>
                </a:lnTo>
                <a:lnTo>
                  <a:pt x="2469" y="2552"/>
                </a:lnTo>
                <a:lnTo>
                  <a:pt x="2451" y="2566"/>
                </a:lnTo>
                <a:lnTo>
                  <a:pt x="2431" y="2579"/>
                </a:lnTo>
                <a:lnTo>
                  <a:pt x="2410" y="2590"/>
                </a:lnTo>
                <a:lnTo>
                  <a:pt x="2388" y="2602"/>
                </a:lnTo>
                <a:lnTo>
                  <a:pt x="2367" y="2612"/>
                </a:lnTo>
                <a:lnTo>
                  <a:pt x="2346" y="2620"/>
                </a:lnTo>
                <a:lnTo>
                  <a:pt x="2323" y="2627"/>
                </a:lnTo>
                <a:lnTo>
                  <a:pt x="2299" y="2634"/>
                </a:lnTo>
                <a:lnTo>
                  <a:pt x="2276" y="2640"/>
                </a:lnTo>
                <a:lnTo>
                  <a:pt x="2252" y="2644"/>
                </a:lnTo>
                <a:lnTo>
                  <a:pt x="2227" y="2647"/>
                </a:lnTo>
                <a:lnTo>
                  <a:pt x="2202" y="2649"/>
                </a:lnTo>
                <a:lnTo>
                  <a:pt x="2176" y="2650"/>
                </a:lnTo>
                <a:lnTo>
                  <a:pt x="2176" y="2650"/>
                </a:lnTo>
                <a:close/>
              </a:path>
            </a:pathLst>
          </a:custGeom>
          <a:solidFill>
            <a:srgbClr val="FF7E00"/>
          </a:solidFill>
          <a:ln w="9525">
            <a:noFill/>
            <a:prstDash val="sysDash"/>
            <a:miter lim="800000"/>
            <a:headEnd/>
            <a:tailEnd/>
          </a:ln>
          <a:extLs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8288" tIns="18288" rIns="18288" bIns="18288" anchor="ctr" anchorCtr="1"/>
          <a:lstStyle/>
          <a:p>
            <a:pPr algn="ctr" defTabSz="1218987">
              <a:lnSpc>
                <a:spcPct val="85000"/>
              </a:lnSpc>
              <a:spcBef>
                <a:spcPct val="20000"/>
              </a:spcBef>
            </a:pPr>
            <a:endParaRPr lang="en-US" sz="1600" b="1" dirty="0">
              <a:solidFill>
                <a:srgbClr val="FFFFFF"/>
              </a:solidFill>
              <a:latin typeface="Arial Narrow" pitchFamily="112" charset="0"/>
            </a:endParaRPr>
          </a:p>
        </p:txBody>
      </p:sp>
      <p:grpSp>
        <p:nvGrpSpPr>
          <p:cNvPr id="1753" name="Group 175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1127918">
            <a:off x="6887742" y="2631445"/>
            <a:ext cx="1994867" cy="2008816"/>
            <a:chOff x="6143544" y="2544695"/>
            <a:chExt cx="2246691" cy="2262401"/>
          </a:xfrm>
        </p:grpSpPr>
        <p:sp>
          <p:nvSpPr>
            <p:cNvPr id="1754" name="Freeform 6"/>
            <p:cNvSpPr>
              <a:spLocks noEditPoints="1"/>
            </p:cNvSpPr>
            <p:nvPr/>
          </p:nvSpPr>
          <p:spPr bwMode="auto">
            <a:xfrm>
              <a:off x="6143544" y="2544695"/>
              <a:ext cx="2246691" cy="2262401"/>
            </a:xfrm>
            <a:custGeom>
              <a:avLst/>
              <a:gdLst>
                <a:gd name="T0" fmla="*/ 3976 w 4004"/>
                <a:gd name="T1" fmla="*/ 1612 h 4034"/>
                <a:gd name="T2" fmla="*/ 3620 w 4004"/>
                <a:gd name="T3" fmla="*/ 1549 h 4034"/>
                <a:gd name="T4" fmla="*/ 3584 w 4004"/>
                <a:gd name="T5" fmla="*/ 1330 h 4034"/>
                <a:gd name="T6" fmla="*/ 3723 w 4004"/>
                <a:gd name="T7" fmla="*/ 970 h 4034"/>
                <a:gd name="T8" fmla="*/ 3394 w 4004"/>
                <a:gd name="T9" fmla="*/ 1037 h 4034"/>
                <a:gd name="T10" fmla="*/ 3246 w 4004"/>
                <a:gd name="T11" fmla="*/ 865 h 4034"/>
                <a:gd name="T12" fmla="*/ 3379 w 4004"/>
                <a:gd name="T13" fmla="*/ 546 h 4034"/>
                <a:gd name="T14" fmla="*/ 2977 w 4004"/>
                <a:gd name="T15" fmla="*/ 620 h 4034"/>
                <a:gd name="T16" fmla="*/ 2780 w 4004"/>
                <a:gd name="T17" fmla="*/ 431 h 4034"/>
                <a:gd name="T18" fmla="*/ 2648 w 4004"/>
                <a:gd name="T19" fmla="*/ 108 h 4034"/>
                <a:gd name="T20" fmla="*/ 2441 w 4004"/>
                <a:gd name="T21" fmla="*/ 371 h 4034"/>
                <a:gd name="T22" fmla="*/ 2200 w 4004"/>
                <a:gd name="T23" fmla="*/ 314 h 4034"/>
                <a:gd name="T24" fmla="*/ 1958 w 4004"/>
                <a:gd name="T25" fmla="*/ 2 h 4034"/>
                <a:gd name="T26" fmla="*/ 1844 w 4004"/>
                <a:gd name="T27" fmla="*/ 327 h 4034"/>
                <a:gd name="T28" fmla="*/ 1555 w 4004"/>
                <a:gd name="T29" fmla="*/ 263 h 4034"/>
                <a:gd name="T30" fmla="*/ 1263 w 4004"/>
                <a:gd name="T31" fmla="*/ 145 h 4034"/>
                <a:gd name="T32" fmla="*/ 1260 w 4004"/>
                <a:gd name="T33" fmla="*/ 506 h 4034"/>
                <a:gd name="T34" fmla="*/ 1051 w 4004"/>
                <a:gd name="T35" fmla="*/ 578 h 4034"/>
                <a:gd name="T36" fmla="*/ 703 w 4004"/>
                <a:gd name="T37" fmla="*/ 475 h 4034"/>
                <a:gd name="T38" fmla="*/ 792 w 4004"/>
                <a:gd name="T39" fmla="*/ 799 h 4034"/>
                <a:gd name="T40" fmla="*/ 672 w 4004"/>
                <a:gd name="T41" fmla="*/ 982 h 4034"/>
                <a:gd name="T42" fmla="*/ 338 w 4004"/>
                <a:gd name="T43" fmla="*/ 901 h 4034"/>
                <a:gd name="T44" fmla="*/ 443 w 4004"/>
                <a:gd name="T45" fmla="*/ 1281 h 4034"/>
                <a:gd name="T46" fmla="*/ 390 w 4004"/>
                <a:gd name="T47" fmla="*/ 1510 h 4034"/>
                <a:gd name="T48" fmla="*/ 44 w 4004"/>
                <a:gd name="T49" fmla="*/ 1552 h 4034"/>
                <a:gd name="T50" fmla="*/ 307 w 4004"/>
                <a:gd name="T51" fmla="*/ 1873 h 4034"/>
                <a:gd name="T52" fmla="*/ 297 w 4004"/>
                <a:gd name="T53" fmla="*/ 2114 h 4034"/>
                <a:gd name="T54" fmla="*/ 26 w 4004"/>
                <a:gd name="T55" fmla="*/ 2413 h 4034"/>
                <a:gd name="T56" fmla="*/ 375 w 4004"/>
                <a:gd name="T57" fmla="*/ 2472 h 4034"/>
                <a:gd name="T58" fmla="*/ 425 w 4004"/>
                <a:gd name="T59" fmla="*/ 2698 h 4034"/>
                <a:gd name="T60" fmla="*/ 241 w 4004"/>
                <a:gd name="T61" fmla="*/ 2997 h 4034"/>
                <a:gd name="T62" fmla="*/ 594 w 4004"/>
                <a:gd name="T63" fmla="*/ 2997 h 4034"/>
                <a:gd name="T64" fmla="*/ 755 w 4004"/>
                <a:gd name="T65" fmla="*/ 3152 h 4034"/>
                <a:gd name="T66" fmla="*/ 615 w 4004"/>
                <a:gd name="T67" fmla="*/ 3461 h 4034"/>
                <a:gd name="T68" fmla="*/ 816 w 4004"/>
                <a:gd name="T69" fmla="*/ 3568 h 4034"/>
                <a:gd name="T70" fmla="*/ 1212 w 4004"/>
                <a:gd name="T71" fmla="*/ 3506 h 4034"/>
                <a:gd name="T72" fmla="*/ 1193 w 4004"/>
                <a:gd name="T73" fmla="*/ 3849 h 4034"/>
                <a:gd name="T74" fmla="*/ 1473 w 4004"/>
                <a:gd name="T75" fmla="*/ 3800 h 4034"/>
                <a:gd name="T76" fmla="*/ 1768 w 4004"/>
                <a:gd name="T77" fmla="*/ 3685 h 4034"/>
                <a:gd name="T78" fmla="*/ 1866 w 4004"/>
                <a:gd name="T79" fmla="*/ 4012 h 4034"/>
                <a:gd name="T80" fmla="*/ 2077 w 4004"/>
                <a:gd name="T81" fmla="*/ 4012 h 4034"/>
                <a:gd name="T82" fmla="*/ 2354 w 4004"/>
                <a:gd name="T83" fmla="*/ 3666 h 4034"/>
                <a:gd name="T84" fmla="*/ 2560 w 4004"/>
                <a:gd name="T85" fmla="*/ 3941 h 4034"/>
                <a:gd name="T86" fmla="*/ 2722 w 4004"/>
                <a:gd name="T87" fmla="*/ 3583 h 4034"/>
                <a:gd name="T88" fmla="*/ 2888 w 4004"/>
                <a:gd name="T89" fmla="*/ 3448 h 4034"/>
                <a:gd name="T90" fmla="*/ 3179 w 4004"/>
                <a:gd name="T91" fmla="*/ 3633 h 4034"/>
                <a:gd name="T92" fmla="*/ 3340 w 4004"/>
                <a:gd name="T93" fmla="*/ 3495 h 4034"/>
                <a:gd name="T94" fmla="*/ 3222 w 4004"/>
                <a:gd name="T95" fmla="*/ 3177 h 4034"/>
                <a:gd name="T96" fmla="*/ 3521 w 4004"/>
                <a:gd name="T97" fmla="*/ 3090 h 4034"/>
                <a:gd name="T98" fmla="*/ 3768 w 4004"/>
                <a:gd name="T99" fmla="*/ 2950 h 4034"/>
                <a:gd name="T100" fmla="*/ 3556 w 4004"/>
                <a:gd name="T101" fmla="*/ 2669 h 4034"/>
                <a:gd name="T102" fmla="*/ 3796 w 4004"/>
                <a:gd name="T103" fmla="*/ 2506 h 4034"/>
                <a:gd name="T104" fmla="*/ 3978 w 4004"/>
                <a:gd name="T105" fmla="*/ 2290 h 4034"/>
                <a:gd name="T106" fmla="*/ 3685 w 4004"/>
                <a:gd name="T107" fmla="*/ 1966 h 4034"/>
                <a:gd name="T108" fmla="*/ 1907 w 4004"/>
                <a:gd name="T109" fmla="*/ 2385 h 4034"/>
                <a:gd name="T110" fmla="*/ 1631 w 4004"/>
                <a:gd name="T111" fmla="*/ 2093 h 4034"/>
                <a:gd name="T112" fmla="*/ 1711 w 4004"/>
                <a:gd name="T113" fmla="*/ 1777 h 4034"/>
                <a:gd name="T114" fmla="*/ 2040 w 4004"/>
                <a:gd name="T115" fmla="*/ 1641 h 4034"/>
                <a:gd name="T116" fmla="*/ 2358 w 4004"/>
                <a:gd name="T117" fmla="*/ 1888 h 4034"/>
                <a:gd name="T118" fmla="*/ 2344 w 4004"/>
                <a:gd name="T119" fmla="*/ 2182 h 4034"/>
                <a:gd name="T120" fmla="*/ 2002 w 4004"/>
                <a:gd name="T121" fmla="*/ 2396 h 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04" h="4034">
                  <a:moveTo>
                    <a:pt x="3723" y="1913"/>
                  </a:moveTo>
                  <a:lnTo>
                    <a:pt x="3723" y="1913"/>
                  </a:lnTo>
                  <a:lnTo>
                    <a:pt x="3765" y="1898"/>
                  </a:lnTo>
                  <a:lnTo>
                    <a:pt x="3855" y="1864"/>
                  </a:lnTo>
                  <a:lnTo>
                    <a:pt x="3855" y="1864"/>
                  </a:lnTo>
                  <a:lnTo>
                    <a:pt x="3945" y="1825"/>
                  </a:lnTo>
                  <a:lnTo>
                    <a:pt x="3987" y="1808"/>
                  </a:lnTo>
                  <a:lnTo>
                    <a:pt x="3987" y="1808"/>
                  </a:lnTo>
                  <a:lnTo>
                    <a:pt x="3994" y="1803"/>
                  </a:lnTo>
                  <a:lnTo>
                    <a:pt x="4000" y="1794"/>
                  </a:lnTo>
                  <a:lnTo>
                    <a:pt x="4004" y="1786"/>
                  </a:lnTo>
                  <a:lnTo>
                    <a:pt x="4004" y="1781"/>
                  </a:lnTo>
                  <a:lnTo>
                    <a:pt x="4004" y="1777"/>
                  </a:lnTo>
                  <a:lnTo>
                    <a:pt x="3979" y="1621"/>
                  </a:lnTo>
                  <a:lnTo>
                    <a:pt x="3979" y="1621"/>
                  </a:lnTo>
                  <a:lnTo>
                    <a:pt x="3978" y="1617"/>
                  </a:lnTo>
                  <a:lnTo>
                    <a:pt x="3976" y="1612"/>
                  </a:lnTo>
                  <a:lnTo>
                    <a:pt x="3970" y="1605"/>
                  </a:lnTo>
                  <a:lnTo>
                    <a:pt x="3962" y="1599"/>
                  </a:lnTo>
                  <a:lnTo>
                    <a:pt x="3954" y="1596"/>
                  </a:lnTo>
                  <a:lnTo>
                    <a:pt x="3954" y="1596"/>
                  </a:lnTo>
                  <a:lnTo>
                    <a:pt x="3908" y="1592"/>
                  </a:lnTo>
                  <a:lnTo>
                    <a:pt x="3811" y="1584"/>
                  </a:lnTo>
                  <a:lnTo>
                    <a:pt x="3811" y="1584"/>
                  </a:lnTo>
                  <a:lnTo>
                    <a:pt x="3715" y="1580"/>
                  </a:lnTo>
                  <a:lnTo>
                    <a:pt x="3670" y="1580"/>
                  </a:lnTo>
                  <a:lnTo>
                    <a:pt x="3670" y="1580"/>
                  </a:lnTo>
                  <a:lnTo>
                    <a:pt x="3661" y="1578"/>
                  </a:lnTo>
                  <a:lnTo>
                    <a:pt x="3653" y="1575"/>
                  </a:lnTo>
                  <a:lnTo>
                    <a:pt x="3644" y="1573"/>
                  </a:lnTo>
                  <a:lnTo>
                    <a:pt x="3636" y="1568"/>
                  </a:lnTo>
                  <a:lnTo>
                    <a:pt x="3630" y="1562"/>
                  </a:lnTo>
                  <a:lnTo>
                    <a:pt x="3624" y="1555"/>
                  </a:lnTo>
                  <a:lnTo>
                    <a:pt x="3620" y="1549"/>
                  </a:lnTo>
                  <a:lnTo>
                    <a:pt x="3617" y="1540"/>
                  </a:lnTo>
                  <a:lnTo>
                    <a:pt x="3611" y="1516"/>
                  </a:lnTo>
                  <a:lnTo>
                    <a:pt x="3611" y="1516"/>
                  </a:lnTo>
                  <a:lnTo>
                    <a:pt x="3601" y="1487"/>
                  </a:lnTo>
                  <a:lnTo>
                    <a:pt x="3601" y="1487"/>
                  </a:lnTo>
                  <a:lnTo>
                    <a:pt x="3593" y="1467"/>
                  </a:lnTo>
                  <a:lnTo>
                    <a:pt x="3567" y="1394"/>
                  </a:lnTo>
                  <a:lnTo>
                    <a:pt x="3567" y="1394"/>
                  </a:lnTo>
                  <a:lnTo>
                    <a:pt x="3564" y="1385"/>
                  </a:lnTo>
                  <a:lnTo>
                    <a:pt x="3564" y="1377"/>
                  </a:lnTo>
                  <a:lnTo>
                    <a:pt x="3564" y="1368"/>
                  </a:lnTo>
                  <a:lnTo>
                    <a:pt x="3565" y="1359"/>
                  </a:lnTo>
                  <a:lnTo>
                    <a:pt x="3570" y="1351"/>
                  </a:lnTo>
                  <a:lnTo>
                    <a:pt x="3574" y="1343"/>
                  </a:lnTo>
                  <a:lnTo>
                    <a:pt x="3579" y="1336"/>
                  </a:lnTo>
                  <a:lnTo>
                    <a:pt x="3584" y="1330"/>
                  </a:lnTo>
                  <a:lnTo>
                    <a:pt x="3584" y="1330"/>
                  </a:lnTo>
                  <a:lnTo>
                    <a:pt x="3618" y="1302"/>
                  </a:lnTo>
                  <a:lnTo>
                    <a:pt x="3691" y="1238"/>
                  </a:lnTo>
                  <a:lnTo>
                    <a:pt x="3691" y="1238"/>
                  </a:lnTo>
                  <a:lnTo>
                    <a:pt x="3762" y="1173"/>
                  </a:lnTo>
                  <a:lnTo>
                    <a:pt x="3794" y="1142"/>
                  </a:lnTo>
                  <a:lnTo>
                    <a:pt x="3794" y="1142"/>
                  </a:lnTo>
                  <a:lnTo>
                    <a:pt x="3799" y="1135"/>
                  </a:lnTo>
                  <a:lnTo>
                    <a:pt x="3802" y="1126"/>
                  </a:lnTo>
                  <a:lnTo>
                    <a:pt x="3802" y="1115"/>
                  </a:lnTo>
                  <a:lnTo>
                    <a:pt x="3799" y="1105"/>
                  </a:lnTo>
                  <a:lnTo>
                    <a:pt x="3799" y="1105"/>
                  </a:lnTo>
                  <a:lnTo>
                    <a:pt x="3780" y="1065"/>
                  </a:lnTo>
                  <a:lnTo>
                    <a:pt x="3768" y="1041"/>
                  </a:lnTo>
                  <a:lnTo>
                    <a:pt x="3780" y="1034"/>
                  </a:lnTo>
                  <a:lnTo>
                    <a:pt x="3778" y="1033"/>
                  </a:lnTo>
                  <a:lnTo>
                    <a:pt x="3766" y="1040"/>
                  </a:lnTo>
                  <a:lnTo>
                    <a:pt x="3723" y="970"/>
                  </a:lnTo>
                  <a:lnTo>
                    <a:pt x="3723" y="970"/>
                  </a:lnTo>
                  <a:lnTo>
                    <a:pt x="3718" y="963"/>
                  </a:lnTo>
                  <a:lnTo>
                    <a:pt x="3709" y="957"/>
                  </a:lnTo>
                  <a:lnTo>
                    <a:pt x="3700" y="954"/>
                  </a:lnTo>
                  <a:lnTo>
                    <a:pt x="3695" y="954"/>
                  </a:lnTo>
                  <a:lnTo>
                    <a:pt x="3691" y="956"/>
                  </a:lnTo>
                  <a:lnTo>
                    <a:pt x="3691" y="956"/>
                  </a:lnTo>
                  <a:lnTo>
                    <a:pt x="3648" y="966"/>
                  </a:lnTo>
                  <a:lnTo>
                    <a:pt x="3555" y="991"/>
                  </a:lnTo>
                  <a:lnTo>
                    <a:pt x="3555" y="991"/>
                  </a:lnTo>
                  <a:lnTo>
                    <a:pt x="3506" y="1007"/>
                  </a:lnTo>
                  <a:lnTo>
                    <a:pt x="3462" y="1021"/>
                  </a:lnTo>
                  <a:lnTo>
                    <a:pt x="3420" y="1036"/>
                  </a:lnTo>
                  <a:lnTo>
                    <a:pt x="3420" y="1036"/>
                  </a:lnTo>
                  <a:lnTo>
                    <a:pt x="3411" y="1037"/>
                  </a:lnTo>
                  <a:lnTo>
                    <a:pt x="3403" y="1039"/>
                  </a:lnTo>
                  <a:lnTo>
                    <a:pt x="3394" y="1037"/>
                  </a:lnTo>
                  <a:lnTo>
                    <a:pt x="3385" y="1036"/>
                  </a:lnTo>
                  <a:lnTo>
                    <a:pt x="3376" y="1033"/>
                  </a:lnTo>
                  <a:lnTo>
                    <a:pt x="3369" y="1028"/>
                  </a:lnTo>
                  <a:lnTo>
                    <a:pt x="3361" y="1024"/>
                  </a:lnTo>
                  <a:lnTo>
                    <a:pt x="3357" y="1018"/>
                  </a:lnTo>
                  <a:lnTo>
                    <a:pt x="3309" y="954"/>
                  </a:lnTo>
                  <a:lnTo>
                    <a:pt x="3309" y="954"/>
                  </a:lnTo>
                  <a:lnTo>
                    <a:pt x="3298" y="939"/>
                  </a:lnTo>
                  <a:lnTo>
                    <a:pt x="3286" y="928"/>
                  </a:lnTo>
                  <a:lnTo>
                    <a:pt x="3286" y="928"/>
                  </a:lnTo>
                  <a:lnTo>
                    <a:pt x="3274" y="914"/>
                  </a:lnTo>
                  <a:lnTo>
                    <a:pt x="3258" y="897"/>
                  </a:lnTo>
                  <a:lnTo>
                    <a:pt x="3258" y="897"/>
                  </a:lnTo>
                  <a:lnTo>
                    <a:pt x="3253" y="889"/>
                  </a:lnTo>
                  <a:lnTo>
                    <a:pt x="3249" y="882"/>
                  </a:lnTo>
                  <a:lnTo>
                    <a:pt x="3247" y="874"/>
                  </a:lnTo>
                  <a:lnTo>
                    <a:pt x="3246" y="865"/>
                  </a:lnTo>
                  <a:lnTo>
                    <a:pt x="3246" y="857"/>
                  </a:lnTo>
                  <a:lnTo>
                    <a:pt x="3247" y="848"/>
                  </a:lnTo>
                  <a:lnTo>
                    <a:pt x="3249" y="839"/>
                  </a:lnTo>
                  <a:lnTo>
                    <a:pt x="3253" y="831"/>
                  </a:lnTo>
                  <a:lnTo>
                    <a:pt x="3253" y="831"/>
                  </a:lnTo>
                  <a:lnTo>
                    <a:pt x="3275" y="793"/>
                  </a:lnTo>
                  <a:lnTo>
                    <a:pt x="3299" y="753"/>
                  </a:lnTo>
                  <a:lnTo>
                    <a:pt x="3324" y="707"/>
                  </a:lnTo>
                  <a:lnTo>
                    <a:pt x="3324" y="707"/>
                  </a:lnTo>
                  <a:lnTo>
                    <a:pt x="3348" y="661"/>
                  </a:lnTo>
                  <a:lnTo>
                    <a:pt x="3369" y="621"/>
                  </a:lnTo>
                  <a:lnTo>
                    <a:pt x="3388" y="581"/>
                  </a:lnTo>
                  <a:lnTo>
                    <a:pt x="3388" y="581"/>
                  </a:lnTo>
                  <a:lnTo>
                    <a:pt x="3391" y="573"/>
                  </a:lnTo>
                  <a:lnTo>
                    <a:pt x="3389" y="564"/>
                  </a:lnTo>
                  <a:lnTo>
                    <a:pt x="3385" y="553"/>
                  </a:lnTo>
                  <a:lnTo>
                    <a:pt x="3379" y="546"/>
                  </a:lnTo>
                  <a:lnTo>
                    <a:pt x="3281" y="457"/>
                  </a:lnTo>
                  <a:lnTo>
                    <a:pt x="3264" y="444"/>
                  </a:lnTo>
                  <a:lnTo>
                    <a:pt x="3264" y="444"/>
                  </a:lnTo>
                  <a:lnTo>
                    <a:pt x="3255" y="439"/>
                  </a:lnTo>
                  <a:lnTo>
                    <a:pt x="3244" y="438"/>
                  </a:lnTo>
                  <a:lnTo>
                    <a:pt x="3234" y="438"/>
                  </a:lnTo>
                  <a:lnTo>
                    <a:pt x="3227" y="441"/>
                  </a:lnTo>
                  <a:lnTo>
                    <a:pt x="3227" y="441"/>
                  </a:lnTo>
                  <a:lnTo>
                    <a:pt x="3188" y="468"/>
                  </a:lnTo>
                  <a:lnTo>
                    <a:pt x="3110" y="524"/>
                  </a:lnTo>
                  <a:lnTo>
                    <a:pt x="3110" y="524"/>
                  </a:lnTo>
                  <a:lnTo>
                    <a:pt x="3033" y="581"/>
                  </a:lnTo>
                  <a:lnTo>
                    <a:pt x="2999" y="610"/>
                  </a:lnTo>
                  <a:lnTo>
                    <a:pt x="2999" y="610"/>
                  </a:lnTo>
                  <a:lnTo>
                    <a:pt x="2991" y="614"/>
                  </a:lnTo>
                  <a:lnTo>
                    <a:pt x="2984" y="617"/>
                  </a:lnTo>
                  <a:lnTo>
                    <a:pt x="2977" y="620"/>
                  </a:lnTo>
                  <a:lnTo>
                    <a:pt x="2968" y="621"/>
                  </a:lnTo>
                  <a:lnTo>
                    <a:pt x="2959" y="621"/>
                  </a:lnTo>
                  <a:lnTo>
                    <a:pt x="2951" y="620"/>
                  </a:lnTo>
                  <a:lnTo>
                    <a:pt x="2943" y="617"/>
                  </a:lnTo>
                  <a:lnTo>
                    <a:pt x="2935" y="614"/>
                  </a:lnTo>
                  <a:lnTo>
                    <a:pt x="2799" y="533"/>
                  </a:lnTo>
                  <a:lnTo>
                    <a:pt x="2799" y="533"/>
                  </a:lnTo>
                  <a:lnTo>
                    <a:pt x="2793" y="528"/>
                  </a:lnTo>
                  <a:lnTo>
                    <a:pt x="2787" y="522"/>
                  </a:lnTo>
                  <a:lnTo>
                    <a:pt x="2781" y="516"/>
                  </a:lnTo>
                  <a:lnTo>
                    <a:pt x="2777" y="509"/>
                  </a:lnTo>
                  <a:lnTo>
                    <a:pt x="2774" y="500"/>
                  </a:lnTo>
                  <a:lnTo>
                    <a:pt x="2773" y="491"/>
                  </a:lnTo>
                  <a:lnTo>
                    <a:pt x="2771" y="482"/>
                  </a:lnTo>
                  <a:lnTo>
                    <a:pt x="2773" y="475"/>
                  </a:lnTo>
                  <a:lnTo>
                    <a:pt x="2773" y="475"/>
                  </a:lnTo>
                  <a:lnTo>
                    <a:pt x="2780" y="431"/>
                  </a:lnTo>
                  <a:lnTo>
                    <a:pt x="2796" y="336"/>
                  </a:lnTo>
                  <a:lnTo>
                    <a:pt x="2796" y="336"/>
                  </a:lnTo>
                  <a:lnTo>
                    <a:pt x="2802" y="284"/>
                  </a:lnTo>
                  <a:lnTo>
                    <a:pt x="2808" y="240"/>
                  </a:lnTo>
                  <a:lnTo>
                    <a:pt x="2812" y="194"/>
                  </a:lnTo>
                  <a:lnTo>
                    <a:pt x="2812" y="194"/>
                  </a:lnTo>
                  <a:lnTo>
                    <a:pt x="2812" y="189"/>
                  </a:lnTo>
                  <a:lnTo>
                    <a:pt x="2812" y="185"/>
                  </a:lnTo>
                  <a:lnTo>
                    <a:pt x="2808" y="176"/>
                  </a:lnTo>
                  <a:lnTo>
                    <a:pt x="2801" y="167"/>
                  </a:lnTo>
                  <a:lnTo>
                    <a:pt x="2793" y="163"/>
                  </a:lnTo>
                  <a:lnTo>
                    <a:pt x="2783" y="157"/>
                  </a:lnTo>
                  <a:lnTo>
                    <a:pt x="2783" y="157"/>
                  </a:lnTo>
                  <a:lnTo>
                    <a:pt x="2725" y="136"/>
                  </a:lnTo>
                  <a:lnTo>
                    <a:pt x="2730" y="123"/>
                  </a:lnTo>
                  <a:lnTo>
                    <a:pt x="2725" y="136"/>
                  </a:lnTo>
                  <a:lnTo>
                    <a:pt x="2648" y="108"/>
                  </a:lnTo>
                  <a:lnTo>
                    <a:pt x="2648" y="108"/>
                  </a:lnTo>
                  <a:lnTo>
                    <a:pt x="2638" y="107"/>
                  </a:lnTo>
                  <a:lnTo>
                    <a:pt x="2629" y="108"/>
                  </a:lnTo>
                  <a:lnTo>
                    <a:pt x="2620" y="111"/>
                  </a:lnTo>
                  <a:lnTo>
                    <a:pt x="2616" y="114"/>
                  </a:lnTo>
                  <a:lnTo>
                    <a:pt x="2613" y="117"/>
                  </a:lnTo>
                  <a:lnTo>
                    <a:pt x="2613" y="117"/>
                  </a:lnTo>
                  <a:lnTo>
                    <a:pt x="2588" y="152"/>
                  </a:lnTo>
                  <a:lnTo>
                    <a:pt x="2561" y="191"/>
                  </a:lnTo>
                  <a:lnTo>
                    <a:pt x="2533" y="234"/>
                  </a:lnTo>
                  <a:lnTo>
                    <a:pt x="2533" y="234"/>
                  </a:lnTo>
                  <a:lnTo>
                    <a:pt x="2480" y="317"/>
                  </a:lnTo>
                  <a:lnTo>
                    <a:pt x="2458" y="355"/>
                  </a:lnTo>
                  <a:lnTo>
                    <a:pt x="2458" y="355"/>
                  </a:lnTo>
                  <a:lnTo>
                    <a:pt x="2453" y="361"/>
                  </a:lnTo>
                  <a:lnTo>
                    <a:pt x="2447" y="365"/>
                  </a:lnTo>
                  <a:lnTo>
                    <a:pt x="2441" y="371"/>
                  </a:lnTo>
                  <a:lnTo>
                    <a:pt x="2435" y="374"/>
                  </a:lnTo>
                  <a:lnTo>
                    <a:pt x="2429" y="379"/>
                  </a:lnTo>
                  <a:lnTo>
                    <a:pt x="2422" y="380"/>
                  </a:lnTo>
                  <a:lnTo>
                    <a:pt x="2415" y="382"/>
                  </a:lnTo>
                  <a:lnTo>
                    <a:pt x="2407" y="383"/>
                  </a:lnTo>
                  <a:lnTo>
                    <a:pt x="2407" y="383"/>
                  </a:lnTo>
                  <a:lnTo>
                    <a:pt x="2397" y="382"/>
                  </a:lnTo>
                  <a:lnTo>
                    <a:pt x="2320" y="363"/>
                  </a:lnTo>
                  <a:lnTo>
                    <a:pt x="2245" y="352"/>
                  </a:lnTo>
                  <a:lnTo>
                    <a:pt x="2245" y="352"/>
                  </a:lnTo>
                  <a:lnTo>
                    <a:pt x="2236" y="349"/>
                  </a:lnTo>
                  <a:lnTo>
                    <a:pt x="2228" y="346"/>
                  </a:lnTo>
                  <a:lnTo>
                    <a:pt x="2221" y="342"/>
                  </a:lnTo>
                  <a:lnTo>
                    <a:pt x="2213" y="336"/>
                  </a:lnTo>
                  <a:lnTo>
                    <a:pt x="2209" y="328"/>
                  </a:lnTo>
                  <a:lnTo>
                    <a:pt x="2203" y="321"/>
                  </a:lnTo>
                  <a:lnTo>
                    <a:pt x="2200" y="314"/>
                  </a:lnTo>
                  <a:lnTo>
                    <a:pt x="2199" y="305"/>
                  </a:lnTo>
                  <a:lnTo>
                    <a:pt x="2199" y="305"/>
                  </a:lnTo>
                  <a:lnTo>
                    <a:pt x="2191" y="260"/>
                  </a:lnTo>
                  <a:lnTo>
                    <a:pt x="2172" y="164"/>
                  </a:lnTo>
                  <a:lnTo>
                    <a:pt x="2172" y="164"/>
                  </a:lnTo>
                  <a:lnTo>
                    <a:pt x="2162" y="113"/>
                  </a:lnTo>
                  <a:lnTo>
                    <a:pt x="2151" y="70"/>
                  </a:lnTo>
                  <a:lnTo>
                    <a:pt x="2141" y="27"/>
                  </a:lnTo>
                  <a:lnTo>
                    <a:pt x="2141" y="27"/>
                  </a:lnTo>
                  <a:lnTo>
                    <a:pt x="2140" y="22"/>
                  </a:lnTo>
                  <a:lnTo>
                    <a:pt x="2137" y="19"/>
                  </a:lnTo>
                  <a:lnTo>
                    <a:pt x="2131" y="12"/>
                  </a:lnTo>
                  <a:lnTo>
                    <a:pt x="2122" y="8"/>
                  </a:lnTo>
                  <a:lnTo>
                    <a:pt x="2111" y="5"/>
                  </a:lnTo>
                  <a:lnTo>
                    <a:pt x="1980" y="0"/>
                  </a:lnTo>
                  <a:lnTo>
                    <a:pt x="1958" y="2"/>
                  </a:lnTo>
                  <a:lnTo>
                    <a:pt x="1958" y="2"/>
                  </a:lnTo>
                  <a:lnTo>
                    <a:pt x="1947" y="3"/>
                  </a:lnTo>
                  <a:lnTo>
                    <a:pt x="1938" y="9"/>
                  </a:lnTo>
                  <a:lnTo>
                    <a:pt x="1931" y="15"/>
                  </a:lnTo>
                  <a:lnTo>
                    <a:pt x="1928" y="19"/>
                  </a:lnTo>
                  <a:lnTo>
                    <a:pt x="1927" y="24"/>
                  </a:lnTo>
                  <a:lnTo>
                    <a:pt x="1927" y="24"/>
                  </a:lnTo>
                  <a:lnTo>
                    <a:pt x="1915" y="67"/>
                  </a:lnTo>
                  <a:lnTo>
                    <a:pt x="1891" y="161"/>
                  </a:lnTo>
                  <a:lnTo>
                    <a:pt x="1891" y="161"/>
                  </a:lnTo>
                  <a:lnTo>
                    <a:pt x="1879" y="212"/>
                  </a:lnTo>
                  <a:lnTo>
                    <a:pt x="1869" y="255"/>
                  </a:lnTo>
                  <a:lnTo>
                    <a:pt x="1860" y="299"/>
                  </a:lnTo>
                  <a:lnTo>
                    <a:pt x="1860" y="299"/>
                  </a:lnTo>
                  <a:lnTo>
                    <a:pt x="1859" y="306"/>
                  </a:lnTo>
                  <a:lnTo>
                    <a:pt x="1854" y="314"/>
                  </a:lnTo>
                  <a:lnTo>
                    <a:pt x="1850" y="321"/>
                  </a:lnTo>
                  <a:lnTo>
                    <a:pt x="1844" y="327"/>
                  </a:lnTo>
                  <a:lnTo>
                    <a:pt x="1838" y="333"/>
                  </a:lnTo>
                  <a:lnTo>
                    <a:pt x="1830" y="337"/>
                  </a:lnTo>
                  <a:lnTo>
                    <a:pt x="1822" y="340"/>
                  </a:lnTo>
                  <a:lnTo>
                    <a:pt x="1814" y="342"/>
                  </a:lnTo>
                  <a:lnTo>
                    <a:pt x="1659" y="367"/>
                  </a:lnTo>
                  <a:lnTo>
                    <a:pt x="1659" y="367"/>
                  </a:lnTo>
                  <a:lnTo>
                    <a:pt x="1650" y="368"/>
                  </a:lnTo>
                  <a:lnTo>
                    <a:pt x="1643" y="367"/>
                  </a:lnTo>
                  <a:lnTo>
                    <a:pt x="1634" y="365"/>
                  </a:lnTo>
                  <a:lnTo>
                    <a:pt x="1626" y="363"/>
                  </a:lnTo>
                  <a:lnTo>
                    <a:pt x="1619" y="358"/>
                  </a:lnTo>
                  <a:lnTo>
                    <a:pt x="1612" y="354"/>
                  </a:lnTo>
                  <a:lnTo>
                    <a:pt x="1606" y="346"/>
                  </a:lnTo>
                  <a:lnTo>
                    <a:pt x="1601" y="340"/>
                  </a:lnTo>
                  <a:lnTo>
                    <a:pt x="1601" y="340"/>
                  </a:lnTo>
                  <a:lnTo>
                    <a:pt x="1579" y="302"/>
                  </a:lnTo>
                  <a:lnTo>
                    <a:pt x="1555" y="263"/>
                  </a:lnTo>
                  <a:lnTo>
                    <a:pt x="1529" y="219"/>
                  </a:lnTo>
                  <a:lnTo>
                    <a:pt x="1529" y="219"/>
                  </a:lnTo>
                  <a:lnTo>
                    <a:pt x="1477" y="138"/>
                  </a:lnTo>
                  <a:lnTo>
                    <a:pt x="1452" y="99"/>
                  </a:lnTo>
                  <a:lnTo>
                    <a:pt x="1452" y="99"/>
                  </a:lnTo>
                  <a:lnTo>
                    <a:pt x="1449" y="96"/>
                  </a:lnTo>
                  <a:lnTo>
                    <a:pt x="1444" y="93"/>
                  </a:lnTo>
                  <a:lnTo>
                    <a:pt x="1436" y="89"/>
                  </a:lnTo>
                  <a:lnTo>
                    <a:pt x="1425" y="87"/>
                  </a:lnTo>
                  <a:lnTo>
                    <a:pt x="1416" y="87"/>
                  </a:lnTo>
                  <a:lnTo>
                    <a:pt x="1405" y="90"/>
                  </a:lnTo>
                  <a:lnTo>
                    <a:pt x="1405" y="90"/>
                  </a:lnTo>
                  <a:lnTo>
                    <a:pt x="1350" y="111"/>
                  </a:lnTo>
                  <a:lnTo>
                    <a:pt x="1347" y="111"/>
                  </a:lnTo>
                  <a:lnTo>
                    <a:pt x="1270" y="139"/>
                  </a:lnTo>
                  <a:lnTo>
                    <a:pt x="1270" y="139"/>
                  </a:lnTo>
                  <a:lnTo>
                    <a:pt x="1263" y="145"/>
                  </a:lnTo>
                  <a:lnTo>
                    <a:pt x="1255" y="151"/>
                  </a:lnTo>
                  <a:lnTo>
                    <a:pt x="1251" y="160"/>
                  </a:lnTo>
                  <a:lnTo>
                    <a:pt x="1249" y="164"/>
                  </a:lnTo>
                  <a:lnTo>
                    <a:pt x="1249" y="169"/>
                  </a:lnTo>
                  <a:lnTo>
                    <a:pt x="1252" y="212"/>
                  </a:lnTo>
                  <a:lnTo>
                    <a:pt x="1263" y="311"/>
                  </a:lnTo>
                  <a:lnTo>
                    <a:pt x="1263" y="311"/>
                  </a:lnTo>
                  <a:lnTo>
                    <a:pt x="1276" y="407"/>
                  </a:lnTo>
                  <a:lnTo>
                    <a:pt x="1282" y="451"/>
                  </a:lnTo>
                  <a:lnTo>
                    <a:pt x="1282" y="451"/>
                  </a:lnTo>
                  <a:lnTo>
                    <a:pt x="1283" y="460"/>
                  </a:lnTo>
                  <a:lnTo>
                    <a:pt x="1282" y="469"/>
                  </a:lnTo>
                  <a:lnTo>
                    <a:pt x="1280" y="478"/>
                  </a:lnTo>
                  <a:lnTo>
                    <a:pt x="1276" y="485"/>
                  </a:lnTo>
                  <a:lnTo>
                    <a:pt x="1271" y="493"/>
                  </a:lnTo>
                  <a:lnTo>
                    <a:pt x="1267" y="500"/>
                  </a:lnTo>
                  <a:lnTo>
                    <a:pt x="1260" y="506"/>
                  </a:lnTo>
                  <a:lnTo>
                    <a:pt x="1254" y="510"/>
                  </a:lnTo>
                  <a:lnTo>
                    <a:pt x="1231" y="521"/>
                  </a:lnTo>
                  <a:lnTo>
                    <a:pt x="1231" y="521"/>
                  </a:lnTo>
                  <a:lnTo>
                    <a:pt x="1218" y="527"/>
                  </a:lnTo>
                  <a:lnTo>
                    <a:pt x="1218" y="527"/>
                  </a:lnTo>
                  <a:lnTo>
                    <a:pt x="1202" y="536"/>
                  </a:lnTo>
                  <a:lnTo>
                    <a:pt x="1184" y="544"/>
                  </a:lnTo>
                  <a:lnTo>
                    <a:pt x="1116" y="586"/>
                  </a:lnTo>
                  <a:lnTo>
                    <a:pt x="1116" y="586"/>
                  </a:lnTo>
                  <a:lnTo>
                    <a:pt x="1109" y="589"/>
                  </a:lnTo>
                  <a:lnTo>
                    <a:pt x="1101" y="592"/>
                  </a:lnTo>
                  <a:lnTo>
                    <a:pt x="1092" y="593"/>
                  </a:lnTo>
                  <a:lnTo>
                    <a:pt x="1084" y="592"/>
                  </a:lnTo>
                  <a:lnTo>
                    <a:pt x="1075" y="590"/>
                  </a:lnTo>
                  <a:lnTo>
                    <a:pt x="1066" y="587"/>
                  </a:lnTo>
                  <a:lnTo>
                    <a:pt x="1058" y="584"/>
                  </a:lnTo>
                  <a:lnTo>
                    <a:pt x="1051" y="578"/>
                  </a:lnTo>
                  <a:lnTo>
                    <a:pt x="1051" y="578"/>
                  </a:lnTo>
                  <a:lnTo>
                    <a:pt x="1017" y="549"/>
                  </a:lnTo>
                  <a:lnTo>
                    <a:pt x="982" y="521"/>
                  </a:lnTo>
                  <a:lnTo>
                    <a:pt x="942" y="488"/>
                  </a:lnTo>
                  <a:lnTo>
                    <a:pt x="942" y="488"/>
                  </a:lnTo>
                  <a:lnTo>
                    <a:pt x="866" y="431"/>
                  </a:lnTo>
                  <a:lnTo>
                    <a:pt x="829" y="404"/>
                  </a:lnTo>
                  <a:lnTo>
                    <a:pt x="829" y="404"/>
                  </a:lnTo>
                  <a:lnTo>
                    <a:pt x="822" y="399"/>
                  </a:lnTo>
                  <a:lnTo>
                    <a:pt x="811" y="399"/>
                  </a:lnTo>
                  <a:lnTo>
                    <a:pt x="803" y="401"/>
                  </a:lnTo>
                  <a:lnTo>
                    <a:pt x="794" y="405"/>
                  </a:lnTo>
                  <a:lnTo>
                    <a:pt x="730" y="453"/>
                  </a:lnTo>
                  <a:lnTo>
                    <a:pt x="730" y="453"/>
                  </a:lnTo>
                  <a:lnTo>
                    <a:pt x="717" y="465"/>
                  </a:lnTo>
                  <a:lnTo>
                    <a:pt x="703" y="475"/>
                  </a:lnTo>
                  <a:lnTo>
                    <a:pt x="703" y="475"/>
                  </a:lnTo>
                  <a:lnTo>
                    <a:pt x="690" y="487"/>
                  </a:lnTo>
                  <a:lnTo>
                    <a:pt x="672" y="503"/>
                  </a:lnTo>
                  <a:lnTo>
                    <a:pt x="672" y="503"/>
                  </a:lnTo>
                  <a:lnTo>
                    <a:pt x="667" y="510"/>
                  </a:lnTo>
                  <a:lnTo>
                    <a:pt x="664" y="521"/>
                  </a:lnTo>
                  <a:lnTo>
                    <a:pt x="662" y="530"/>
                  </a:lnTo>
                  <a:lnTo>
                    <a:pt x="662" y="534"/>
                  </a:lnTo>
                  <a:lnTo>
                    <a:pt x="664" y="539"/>
                  </a:lnTo>
                  <a:lnTo>
                    <a:pt x="664" y="539"/>
                  </a:lnTo>
                  <a:lnTo>
                    <a:pt x="683" y="580"/>
                  </a:lnTo>
                  <a:lnTo>
                    <a:pt x="724" y="667"/>
                  </a:lnTo>
                  <a:lnTo>
                    <a:pt x="724" y="667"/>
                  </a:lnTo>
                  <a:lnTo>
                    <a:pt x="746" y="712"/>
                  </a:lnTo>
                  <a:lnTo>
                    <a:pt x="767" y="752"/>
                  </a:lnTo>
                  <a:lnTo>
                    <a:pt x="788" y="791"/>
                  </a:lnTo>
                  <a:lnTo>
                    <a:pt x="788" y="791"/>
                  </a:lnTo>
                  <a:lnTo>
                    <a:pt x="792" y="799"/>
                  </a:lnTo>
                  <a:lnTo>
                    <a:pt x="794" y="808"/>
                  </a:lnTo>
                  <a:lnTo>
                    <a:pt x="795" y="817"/>
                  </a:lnTo>
                  <a:lnTo>
                    <a:pt x="795" y="826"/>
                  </a:lnTo>
                  <a:lnTo>
                    <a:pt x="794" y="834"/>
                  </a:lnTo>
                  <a:lnTo>
                    <a:pt x="791" y="842"/>
                  </a:lnTo>
                  <a:lnTo>
                    <a:pt x="788" y="851"/>
                  </a:lnTo>
                  <a:lnTo>
                    <a:pt x="782" y="857"/>
                  </a:lnTo>
                  <a:lnTo>
                    <a:pt x="782" y="857"/>
                  </a:lnTo>
                  <a:lnTo>
                    <a:pt x="782" y="857"/>
                  </a:lnTo>
                  <a:lnTo>
                    <a:pt x="779" y="860"/>
                  </a:lnTo>
                  <a:lnTo>
                    <a:pt x="779" y="860"/>
                  </a:lnTo>
                  <a:lnTo>
                    <a:pt x="715" y="931"/>
                  </a:lnTo>
                  <a:lnTo>
                    <a:pt x="687" y="963"/>
                  </a:lnTo>
                  <a:lnTo>
                    <a:pt x="689" y="963"/>
                  </a:lnTo>
                  <a:lnTo>
                    <a:pt x="680" y="975"/>
                  </a:lnTo>
                  <a:lnTo>
                    <a:pt x="680" y="975"/>
                  </a:lnTo>
                  <a:lnTo>
                    <a:pt x="672" y="982"/>
                  </a:lnTo>
                  <a:lnTo>
                    <a:pt x="661" y="990"/>
                  </a:lnTo>
                  <a:lnTo>
                    <a:pt x="649" y="993"/>
                  </a:lnTo>
                  <a:lnTo>
                    <a:pt x="637" y="994"/>
                  </a:lnTo>
                  <a:lnTo>
                    <a:pt x="637" y="994"/>
                  </a:lnTo>
                  <a:lnTo>
                    <a:pt x="627" y="994"/>
                  </a:lnTo>
                  <a:lnTo>
                    <a:pt x="618" y="991"/>
                  </a:lnTo>
                  <a:lnTo>
                    <a:pt x="618" y="991"/>
                  </a:lnTo>
                  <a:lnTo>
                    <a:pt x="575" y="975"/>
                  </a:lnTo>
                  <a:lnTo>
                    <a:pt x="533" y="960"/>
                  </a:lnTo>
                  <a:lnTo>
                    <a:pt x="485" y="944"/>
                  </a:lnTo>
                  <a:lnTo>
                    <a:pt x="485" y="944"/>
                  </a:lnTo>
                  <a:lnTo>
                    <a:pt x="434" y="928"/>
                  </a:lnTo>
                  <a:lnTo>
                    <a:pt x="390" y="914"/>
                  </a:lnTo>
                  <a:lnTo>
                    <a:pt x="347" y="901"/>
                  </a:lnTo>
                  <a:lnTo>
                    <a:pt x="347" y="901"/>
                  </a:lnTo>
                  <a:lnTo>
                    <a:pt x="343" y="901"/>
                  </a:lnTo>
                  <a:lnTo>
                    <a:pt x="338" y="901"/>
                  </a:lnTo>
                  <a:lnTo>
                    <a:pt x="329" y="902"/>
                  </a:lnTo>
                  <a:lnTo>
                    <a:pt x="320" y="908"/>
                  </a:lnTo>
                  <a:lnTo>
                    <a:pt x="315" y="914"/>
                  </a:lnTo>
                  <a:lnTo>
                    <a:pt x="276" y="979"/>
                  </a:lnTo>
                  <a:lnTo>
                    <a:pt x="233" y="1049"/>
                  </a:lnTo>
                  <a:lnTo>
                    <a:pt x="233" y="1049"/>
                  </a:lnTo>
                  <a:lnTo>
                    <a:pt x="232" y="1053"/>
                  </a:lnTo>
                  <a:lnTo>
                    <a:pt x="230" y="1058"/>
                  </a:lnTo>
                  <a:lnTo>
                    <a:pt x="230" y="1068"/>
                  </a:lnTo>
                  <a:lnTo>
                    <a:pt x="233" y="1078"/>
                  </a:lnTo>
                  <a:lnTo>
                    <a:pt x="238" y="1086"/>
                  </a:lnTo>
                  <a:lnTo>
                    <a:pt x="238" y="1086"/>
                  </a:lnTo>
                  <a:lnTo>
                    <a:pt x="270" y="1117"/>
                  </a:lnTo>
                  <a:lnTo>
                    <a:pt x="340" y="1185"/>
                  </a:lnTo>
                  <a:lnTo>
                    <a:pt x="340" y="1185"/>
                  </a:lnTo>
                  <a:lnTo>
                    <a:pt x="411" y="1252"/>
                  </a:lnTo>
                  <a:lnTo>
                    <a:pt x="443" y="1281"/>
                  </a:lnTo>
                  <a:lnTo>
                    <a:pt x="443" y="1281"/>
                  </a:lnTo>
                  <a:lnTo>
                    <a:pt x="451" y="1287"/>
                  </a:lnTo>
                  <a:lnTo>
                    <a:pt x="455" y="1294"/>
                  </a:lnTo>
                  <a:lnTo>
                    <a:pt x="459" y="1302"/>
                  </a:lnTo>
                  <a:lnTo>
                    <a:pt x="461" y="1311"/>
                  </a:lnTo>
                  <a:lnTo>
                    <a:pt x="462" y="1320"/>
                  </a:lnTo>
                  <a:lnTo>
                    <a:pt x="462" y="1328"/>
                  </a:lnTo>
                  <a:lnTo>
                    <a:pt x="461" y="1336"/>
                  </a:lnTo>
                  <a:lnTo>
                    <a:pt x="458" y="1345"/>
                  </a:lnTo>
                  <a:lnTo>
                    <a:pt x="448" y="1367"/>
                  </a:lnTo>
                  <a:lnTo>
                    <a:pt x="448" y="1367"/>
                  </a:lnTo>
                  <a:lnTo>
                    <a:pt x="437" y="1395"/>
                  </a:lnTo>
                  <a:lnTo>
                    <a:pt x="403" y="1490"/>
                  </a:lnTo>
                  <a:lnTo>
                    <a:pt x="403" y="1490"/>
                  </a:lnTo>
                  <a:lnTo>
                    <a:pt x="400" y="1497"/>
                  </a:lnTo>
                  <a:lnTo>
                    <a:pt x="396" y="1504"/>
                  </a:lnTo>
                  <a:lnTo>
                    <a:pt x="390" y="1510"/>
                  </a:lnTo>
                  <a:lnTo>
                    <a:pt x="383" y="1516"/>
                  </a:lnTo>
                  <a:lnTo>
                    <a:pt x="375" y="1521"/>
                  </a:lnTo>
                  <a:lnTo>
                    <a:pt x="366" y="1524"/>
                  </a:lnTo>
                  <a:lnTo>
                    <a:pt x="357" y="1525"/>
                  </a:lnTo>
                  <a:lnTo>
                    <a:pt x="349" y="1527"/>
                  </a:lnTo>
                  <a:lnTo>
                    <a:pt x="349" y="1527"/>
                  </a:lnTo>
                  <a:lnTo>
                    <a:pt x="349" y="1527"/>
                  </a:lnTo>
                  <a:lnTo>
                    <a:pt x="304" y="1527"/>
                  </a:lnTo>
                  <a:lnTo>
                    <a:pt x="208" y="1528"/>
                  </a:lnTo>
                  <a:lnTo>
                    <a:pt x="208" y="1528"/>
                  </a:lnTo>
                  <a:lnTo>
                    <a:pt x="112" y="1533"/>
                  </a:lnTo>
                  <a:lnTo>
                    <a:pt x="68" y="1536"/>
                  </a:lnTo>
                  <a:lnTo>
                    <a:pt x="68" y="1536"/>
                  </a:lnTo>
                  <a:lnTo>
                    <a:pt x="63" y="1537"/>
                  </a:lnTo>
                  <a:lnTo>
                    <a:pt x="59" y="1538"/>
                  </a:lnTo>
                  <a:lnTo>
                    <a:pt x="51" y="1543"/>
                  </a:lnTo>
                  <a:lnTo>
                    <a:pt x="44" y="1552"/>
                  </a:lnTo>
                  <a:lnTo>
                    <a:pt x="41" y="1561"/>
                  </a:lnTo>
                  <a:lnTo>
                    <a:pt x="22" y="1636"/>
                  </a:lnTo>
                  <a:lnTo>
                    <a:pt x="11" y="1713"/>
                  </a:lnTo>
                  <a:lnTo>
                    <a:pt x="11" y="1713"/>
                  </a:lnTo>
                  <a:lnTo>
                    <a:pt x="11" y="1722"/>
                  </a:lnTo>
                  <a:lnTo>
                    <a:pt x="14" y="1732"/>
                  </a:lnTo>
                  <a:lnTo>
                    <a:pt x="20" y="1740"/>
                  </a:lnTo>
                  <a:lnTo>
                    <a:pt x="23" y="1743"/>
                  </a:lnTo>
                  <a:lnTo>
                    <a:pt x="26" y="1746"/>
                  </a:lnTo>
                  <a:lnTo>
                    <a:pt x="26" y="1746"/>
                  </a:lnTo>
                  <a:lnTo>
                    <a:pt x="68" y="1765"/>
                  </a:lnTo>
                  <a:lnTo>
                    <a:pt x="155" y="1805"/>
                  </a:lnTo>
                  <a:lnTo>
                    <a:pt x="285" y="1858"/>
                  </a:lnTo>
                  <a:lnTo>
                    <a:pt x="285" y="1858"/>
                  </a:lnTo>
                  <a:lnTo>
                    <a:pt x="292" y="1862"/>
                  </a:lnTo>
                  <a:lnTo>
                    <a:pt x="300" y="1867"/>
                  </a:lnTo>
                  <a:lnTo>
                    <a:pt x="307" y="1873"/>
                  </a:lnTo>
                  <a:lnTo>
                    <a:pt x="312" y="1880"/>
                  </a:lnTo>
                  <a:lnTo>
                    <a:pt x="316" y="1888"/>
                  </a:lnTo>
                  <a:lnTo>
                    <a:pt x="320" y="1896"/>
                  </a:lnTo>
                  <a:lnTo>
                    <a:pt x="322" y="1904"/>
                  </a:lnTo>
                  <a:lnTo>
                    <a:pt x="322" y="1913"/>
                  </a:lnTo>
                  <a:lnTo>
                    <a:pt x="322" y="1913"/>
                  </a:lnTo>
                  <a:lnTo>
                    <a:pt x="319" y="1996"/>
                  </a:lnTo>
                  <a:lnTo>
                    <a:pt x="317" y="2055"/>
                  </a:lnTo>
                  <a:lnTo>
                    <a:pt x="319" y="2055"/>
                  </a:lnTo>
                  <a:lnTo>
                    <a:pt x="319" y="2068"/>
                  </a:lnTo>
                  <a:lnTo>
                    <a:pt x="319" y="2068"/>
                  </a:lnTo>
                  <a:lnTo>
                    <a:pt x="319" y="2077"/>
                  </a:lnTo>
                  <a:lnTo>
                    <a:pt x="317" y="2084"/>
                  </a:lnTo>
                  <a:lnTo>
                    <a:pt x="315" y="2093"/>
                  </a:lnTo>
                  <a:lnTo>
                    <a:pt x="310" y="2101"/>
                  </a:lnTo>
                  <a:lnTo>
                    <a:pt x="304" y="2106"/>
                  </a:lnTo>
                  <a:lnTo>
                    <a:pt x="297" y="2114"/>
                  </a:lnTo>
                  <a:lnTo>
                    <a:pt x="289" y="2118"/>
                  </a:lnTo>
                  <a:lnTo>
                    <a:pt x="282" y="2121"/>
                  </a:lnTo>
                  <a:lnTo>
                    <a:pt x="282" y="2121"/>
                  </a:lnTo>
                  <a:lnTo>
                    <a:pt x="241" y="2136"/>
                  </a:lnTo>
                  <a:lnTo>
                    <a:pt x="149" y="2172"/>
                  </a:lnTo>
                  <a:lnTo>
                    <a:pt x="149" y="2172"/>
                  </a:lnTo>
                  <a:lnTo>
                    <a:pt x="59" y="2209"/>
                  </a:lnTo>
                  <a:lnTo>
                    <a:pt x="17" y="2226"/>
                  </a:lnTo>
                  <a:lnTo>
                    <a:pt x="17" y="2226"/>
                  </a:lnTo>
                  <a:lnTo>
                    <a:pt x="10" y="2232"/>
                  </a:lnTo>
                  <a:lnTo>
                    <a:pt x="4" y="2240"/>
                  </a:lnTo>
                  <a:lnTo>
                    <a:pt x="1" y="2248"/>
                  </a:lnTo>
                  <a:lnTo>
                    <a:pt x="0" y="2253"/>
                  </a:lnTo>
                  <a:lnTo>
                    <a:pt x="1" y="2257"/>
                  </a:lnTo>
                  <a:lnTo>
                    <a:pt x="13" y="2331"/>
                  </a:lnTo>
                  <a:lnTo>
                    <a:pt x="26" y="2413"/>
                  </a:lnTo>
                  <a:lnTo>
                    <a:pt x="26" y="2413"/>
                  </a:lnTo>
                  <a:lnTo>
                    <a:pt x="26" y="2417"/>
                  </a:lnTo>
                  <a:lnTo>
                    <a:pt x="29" y="2422"/>
                  </a:lnTo>
                  <a:lnTo>
                    <a:pt x="35" y="2430"/>
                  </a:lnTo>
                  <a:lnTo>
                    <a:pt x="42" y="2435"/>
                  </a:lnTo>
                  <a:lnTo>
                    <a:pt x="51" y="2438"/>
                  </a:lnTo>
                  <a:lnTo>
                    <a:pt x="51" y="2438"/>
                  </a:lnTo>
                  <a:lnTo>
                    <a:pt x="97" y="2442"/>
                  </a:lnTo>
                  <a:lnTo>
                    <a:pt x="193" y="2450"/>
                  </a:lnTo>
                  <a:lnTo>
                    <a:pt x="193" y="2450"/>
                  </a:lnTo>
                  <a:lnTo>
                    <a:pt x="291" y="2454"/>
                  </a:lnTo>
                  <a:lnTo>
                    <a:pt x="335" y="2456"/>
                  </a:lnTo>
                  <a:lnTo>
                    <a:pt x="335" y="2456"/>
                  </a:lnTo>
                  <a:lnTo>
                    <a:pt x="344" y="2456"/>
                  </a:lnTo>
                  <a:lnTo>
                    <a:pt x="353" y="2459"/>
                  </a:lnTo>
                  <a:lnTo>
                    <a:pt x="360" y="2461"/>
                  </a:lnTo>
                  <a:lnTo>
                    <a:pt x="368" y="2467"/>
                  </a:lnTo>
                  <a:lnTo>
                    <a:pt x="375" y="2472"/>
                  </a:lnTo>
                  <a:lnTo>
                    <a:pt x="380" y="2479"/>
                  </a:lnTo>
                  <a:lnTo>
                    <a:pt x="384" y="2487"/>
                  </a:lnTo>
                  <a:lnTo>
                    <a:pt x="387" y="2494"/>
                  </a:lnTo>
                  <a:lnTo>
                    <a:pt x="393" y="2518"/>
                  </a:lnTo>
                  <a:lnTo>
                    <a:pt x="393" y="2518"/>
                  </a:lnTo>
                  <a:lnTo>
                    <a:pt x="403" y="2547"/>
                  </a:lnTo>
                  <a:lnTo>
                    <a:pt x="403" y="2547"/>
                  </a:lnTo>
                  <a:lnTo>
                    <a:pt x="412" y="2568"/>
                  </a:lnTo>
                  <a:lnTo>
                    <a:pt x="439" y="2642"/>
                  </a:lnTo>
                  <a:lnTo>
                    <a:pt x="439" y="2642"/>
                  </a:lnTo>
                  <a:lnTo>
                    <a:pt x="440" y="2649"/>
                  </a:lnTo>
                  <a:lnTo>
                    <a:pt x="442" y="2658"/>
                  </a:lnTo>
                  <a:lnTo>
                    <a:pt x="440" y="2667"/>
                  </a:lnTo>
                  <a:lnTo>
                    <a:pt x="439" y="2675"/>
                  </a:lnTo>
                  <a:lnTo>
                    <a:pt x="436" y="2683"/>
                  </a:lnTo>
                  <a:lnTo>
                    <a:pt x="431" y="2691"/>
                  </a:lnTo>
                  <a:lnTo>
                    <a:pt x="425" y="2698"/>
                  </a:lnTo>
                  <a:lnTo>
                    <a:pt x="420" y="2704"/>
                  </a:lnTo>
                  <a:lnTo>
                    <a:pt x="420" y="2704"/>
                  </a:lnTo>
                  <a:lnTo>
                    <a:pt x="386" y="2732"/>
                  </a:lnTo>
                  <a:lnTo>
                    <a:pt x="313" y="2796"/>
                  </a:lnTo>
                  <a:lnTo>
                    <a:pt x="313" y="2796"/>
                  </a:lnTo>
                  <a:lnTo>
                    <a:pt x="242" y="2861"/>
                  </a:lnTo>
                  <a:lnTo>
                    <a:pt x="210" y="2892"/>
                  </a:lnTo>
                  <a:lnTo>
                    <a:pt x="210" y="2892"/>
                  </a:lnTo>
                  <a:lnTo>
                    <a:pt x="208" y="2896"/>
                  </a:lnTo>
                  <a:lnTo>
                    <a:pt x="205" y="2899"/>
                  </a:lnTo>
                  <a:lnTo>
                    <a:pt x="202" y="2910"/>
                  </a:lnTo>
                  <a:lnTo>
                    <a:pt x="202" y="2920"/>
                  </a:lnTo>
                  <a:lnTo>
                    <a:pt x="205" y="2929"/>
                  </a:lnTo>
                  <a:lnTo>
                    <a:pt x="220" y="2957"/>
                  </a:lnTo>
                  <a:lnTo>
                    <a:pt x="220" y="2957"/>
                  </a:lnTo>
                  <a:lnTo>
                    <a:pt x="229" y="2976"/>
                  </a:lnTo>
                  <a:lnTo>
                    <a:pt x="241" y="2997"/>
                  </a:lnTo>
                  <a:lnTo>
                    <a:pt x="281" y="3064"/>
                  </a:lnTo>
                  <a:lnTo>
                    <a:pt x="281" y="3064"/>
                  </a:lnTo>
                  <a:lnTo>
                    <a:pt x="288" y="3071"/>
                  </a:lnTo>
                  <a:lnTo>
                    <a:pt x="295" y="3077"/>
                  </a:lnTo>
                  <a:lnTo>
                    <a:pt x="306" y="3080"/>
                  </a:lnTo>
                  <a:lnTo>
                    <a:pt x="310" y="3080"/>
                  </a:lnTo>
                  <a:lnTo>
                    <a:pt x="313" y="3080"/>
                  </a:lnTo>
                  <a:lnTo>
                    <a:pt x="313" y="3080"/>
                  </a:lnTo>
                  <a:lnTo>
                    <a:pt x="357" y="3068"/>
                  </a:lnTo>
                  <a:lnTo>
                    <a:pt x="449" y="3043"/>
                  </a:lnTo>
                  <a:lnTo>
                    <a:pt x="449" y="3043"/>
                  </a:lnTo>
                  <a:lnTo>
                    <a:pt x="525" y="3019"/>
                  </a:lnTo>
                  <a:lnTo>
                    <a:pt x="575" y="3003"/>
                  </a:lnTo>
                  <a:lnTo>
                    <a:pt x="575" y="3003"/>
                  </a:lnTo>
                  <a:lnTo>
                    <a:pt x="585" y="2998"/>
                  </a:lnTo>
                  <a:lnTo>
                    <a:pt x="585" y="2998"/>
                  </a:lnTo>
                  <a:lnTo>
                    <a:pt x="594" y="2997"/>
                  </a:lnTo>
                  <a:lnTo>
                    <a:pt x="603" y="2995"/>
                  </a:lnTo>
                  <a:lnTo>
                    <a:pt x="612" y="2997"/>
                  </a:lnTo>
                  <a:lnTo>
                    <a:pt x="621" y="2998"/>
                  </a:lnTo>
                  <a:lnTo>
                    <a:pt x="628" y="3001"/>
                  </a:lnTo>
                  <a:lnTo>
                    <a:pt x="637" y="3006"/>
                  </a:lnTo>
                  <a:lnTo>
                    <a:pt x="643" y="3010"/>
                  </a:lnTo>
                  <a:lnTo>
                    <a:pt x="649" y="3016"/>
                  </a:lnTo>
                  <a:lnTo>
                    <a:pt x="696" y="3080"/>
                  </a:lnTo>
                  <a:lnTo>
                    <a:pt x="696" y="3080"/>
                  </a:lnTo>
                  <a:lnTo>
                    <a:pt x="706" y="3095"/>
                  </a:lnTo>
                  <a:lnTo>
                    <a:pt x="718" y="3106"/>
                  </a:lnTo>
                  <a:lnTo>
                    <a:pt x="718" y="3106"/>
                  </a:lnTo>
                  <a:lnTo>
                    <a:pt x="730" y="3120"/>
                  </a:lnTo>
                  <a:lnTo>
                    <a:pt x="746" y="3137"/>
                  </a:lnTo>
                  <a:lnTo>
                    <a:pt x="746" y="3137"/>
                  </a:lnTo>
                  <a:lnTo>
                    <a:pt x="752" y="3145"/>
                  </a:lnTo>
                  <a:lnTo>
                    <a:pt x="755" y="3152"/>
                  </a:lnTo>
                  <a:lnTo>
                    <a:pt x="758" y="3161"/>
                  </a:lnTo>
                  <a:lnTo>
                    <a:pt x="760" y="3169"/>
                  </a:lnTo>
                  <a:lnTo>
                    <a:pt x="760" y="3177"/>
                  </a:lnTo>
                  <a:lnTo>
                    <a:pt x="758" y="3186"/>
                  </a:lnTo>
                  <a:lnTo>
                    <a:pt x="755" y="3195"/>
                  </a:lnTo>
                  <a:lnTo>
                    <a:pt x="752" y="3204"/>
                  </a:lnTo>
                  <a:lnTo>
                    <a:pt x="752" y="3204"/>
                  </a:lnTo>
                  <a:lnTo>
                    <a:pt x="729" y="3243"/>
                  </a:lnTo>
                  <a:lnTo>
                    <a:pt x="706" y="3281"/>
                  </a:lnTo>
                  <a:lnTo>
                    <a:pt x="681" y="3327"/>
                  </a:lnTo>
                  <a:lnTo>
                    <a:pt x="681" y="3327"/>
                  </a:lnTo>
                  <a:lnTo>
                    <a:pt x="656" y="3373"/>
                  </a:lnTo>
                  <a:lnTo>
                    <a:pt x="635" y="3414"/>
                  </a:lnTo>
                  <a:lnTo>
                    <a:pt x="616" y="3454"/>
                  </a:lnTo>
                  <a:lnTo>
                    <a:pt x="616" y="3454"/>
                  </a:lnTo>
                  <a:lnTo>
                    <a:pt x="615" y="3457"/>
                  </a:lnTo>
                  <a:lnTo>
                    <a:pt x="615" y="3461"/>
                  </a:lnTo>
                  <a:lnTo>
                    <a:pt x="616" y="3472"/>
                  </a:lnTo>
                  <a:lnTo>
                    <a:pt x="619" y="3481"/>
                  </a:lnTo>
                  <a:lnTo>
                    <a:pt x="625" y="3488"/>
                  </a:lnTo>
                  <a:lnTo>
                    <a:pt x="680" y="3538"/>
                  </a:lnTo>
                  <a:lnTo>
                    <a:pt x="711" y="3565"/>
                  </a:lnTo>
                  <a:lnTo>
                    <a:pt x="711" y="3565"/>
                  </a:lnTo>
                  <a:lnTo>
                    <a:pt x="721" y="3575"/>
                  </a:lnTo>
                  <a:lnTo>
                    <a:pt x="732" y="3583"/>
                  </a:lnTo>
                  <a:lnTo>
                    <a:pt x="742" y="3590"/>
                  </a:lnTo>
                  <a:lnTo>
                    <a:pt x="742" y="3590"/>
                  </a:lnTo>
                  <a:lnTo>
                    <a:pt x="751" y="3595"/>
                  </a:lnTo>
                  <a:lnTo>
                    <a:pt x="760" y="3598"/>
                  </a:lnTo>
                  <a:lnTo>
                    <a:pt x="770" y="3596"/>
                  </a:lnTo>
                  <a:lnTo>
                    <a:pt x="774" y="3595"/>
                  </a:lnTo>
                  <a:lnTo>
                    <a:pt x="779" y="3593"/>
                  </a:lnTo>
                  <a:lnTo>
                    <a:pt x="779" y="3593"/>
                  </a:lnTo>
                  <a:lnTo>
                    <a:pt x="816" y="3568"/>
                  </a:lnTo>
                  <a:lnTo>
                    <a:pt x="853" y="3541"/>
                  </a:lnTo>
                  <a:lnTo>
                    <a:pt x="894" y="3510"/>
                  </a:lnTo>
                  <a:lnTo>
                    <a:pt x="894" y="3510"/>
                  </a:lnTo>
                  <a:lnTo>
                    <a:pt x="971" y="3453"/>
                  </a:lnTo>
                  <a:lnTo>
                    <a:pt x="1007" y="3426"/>
                  </a:lnTo>
                  <a:lnTo>
                    <a:pt x="1007" y="3426"/>
                  </a:lnTo>
                  <a:lnTo>
                    <a:pt x="1013" y="3420"/>
                  </a:lnTo>
                  <a:lnTo>
                    <a:pt x="1020" y="3417"/>
                  </a:lnTo>
                  <a:lnTo>
                    <a:pt x="1029" y="3416"/>
                  </a:lnTo>
                  <a:lnTo>
                    <a:pt x="1036" y="3414"/>
                  </a:lnTo>
                  <a:lnTo>
                    <a:pt x="1045" y="3414"/>
                  </a:lnTo>
                  <a:lnTo>
                    <a:pt x="1054" y="3416"/>
                  </a:lnTo>
                  <a:lnTo>
                    <a:pt x="1061" y="3417"/>
                  </a:lnTo>
                  <a:lnTo>
                    <a:pt x="1070" y="3421"/>
                  </a:lnTo>
                  <a:lnTo>
                    <a:pt x="1205" y="3503"/>
                  </a:lnTo>
                  <a:lnTo>
                    <a:pt x="1205" y="3503"/>
                  </a:lnTo>
                  <a:lnTo>
                    <a:pt x="1212" y="3506"/>
                  </a:lnTo>
                  <a:lnTo>
                    <a:pt x="1218" y="3512"/>
                  </a:lnTo>
                  <a:lnTo>
                    <a:pt x="1223" y="3518"/>
                  </a:lnTo>
                  <a:lnTo>
                    <a:pt x="1227" y="3527"/>
                  </a:lnTo>
                  <a:lnTo>
                    <a:pt x="1230" y="3534"/>
                  </a:lnTo>
                  <a:lnTo>
                    <a:pt x="1233" y="3543"/>
                  </a:lnTo>
                  <a:lnTo>
                    <a:pt x="1233" y="3552"/>
                  </a:lnTo>
                  <a:lnTo>
                    <a:pt x="1233" y="3561"/>
                  </a:lnTo>
                  <a:lnTo>
                    <a:pt x="1233" y="3561"/>
                  </a:lnTo>
                  <a:lnTo>
                    <a:pt x="1224" y="3603"/>
                  </a:lnTo>
                  <a:lnTo>
                    <a:pt x="1209" y="3700"/>
                  </a:lnTo>
                  <a:lnTo>
                    <a:pt x="1209" y="3700"/>
                  </a:lnTo>
                  <a:lnTo>
                    <a:pt x="1202" y="3750"/>
                  </a:lnTo>
                  <a:lnTo>
                    <a:pt x="1196" y="3796"/>
                  </a:lnTo>
                  <a:lnTo>
                    <a:pt x="1192" y="3840"/>
                  </a:lnTo>
                  <a:lnTo>
                    <a:pt x="1192" y="3840"/>
                  </a:lnTo>
                  <a:lnTo>
                    <a:pt x="1192" y="3845"/>
                  </a:lnTo>
                  <a:lnTo>
                    <a:pt x="1193" y="3849"/>
                  </a:lnTo>
                  <a:lnTo>
                    <a:pt x="1197" y="3858"/>
                  </a:lnTo>
                  <a:lnTo>
                    <a:pt x="1203" y="3867"/>
                  </a:lnTo>
                  <a:lnTo>
                    <a:pt x="1211" y="3873"/>
                  </a:lnTo>
                  <a:lnTo>
                    <a:pt x="1220" y="3876"/>
                  </a:lnTo>
                  <a:lnTo>
                    <a:pt x="1220" y="3876"/>
                  </a:lnTo>
                  <a:lnTo>
                    <a:pt x="1233" y="3882"/>
                  </a:lnTo>
                  <a:lnTo>
                    <a:pt x="1357" y="3926"/>
                  </a:lnTo>
                  <a:lnTo>
                    <a:pt x="1357" y="3926"/>
                  </a:lnTo>
                  <a:lnTo>
                    <a:pt x="1366" y="3927"/>
                  </a:lnTo>
                  <a:lnTo>
                    <a:pt x="1376" y="3926"/>
                  </a:lnTo>
                  <a:lnTo>
                    <a:pt x="1385" y="3923"/>
                  </a:lnTo>
                  <a:lnTo>
                    <a:pt x="1388" y="3920"/>
                  </a:lnTo>
                  <a:lnTo>
                    <a:pt x="1391" y="3917"/>
                  </a:lnTo>
                  <a:lnTo>
                    <a:pt x="1391" y="3917"/>
                  </a:lnTo>
                  <a:lnTo>
                    <a:pt x="1418" y="3882"/>
                  </a:lnTo>
                  <a:lnTo>
                    <a:pt x="1443" y="3845"/>
                  </a:lnTo>
                  <a:lnTo>
                    <a:pt x="1473" y="3800"/>
                  </a:lnTo>
                  <a:lnTo>
                    <a:pt x="1473" y="3800"/>
                  </a:lnTo>
                  <a:lnTo>
                    <a:pt x="1501" y="3757"/>
                  </a:lnTo>
                  <a:lnTo>
                    <a:pt x="1524" y="3719"/>
                  </a:lnTo>
                  <a:lnTo>
                    <a:pt x="1548" y="3680"/>
                  </a:lnTo>
                  <a:lnTo>
                    <a:pt x="1548" y="3680"/>
                  </a:lnTo>
                  <a:lnTo>
                    <a:pt x="1552" y="3673"/>
                  </a:lnTo>
                  <a:lnTo>
                    <a:pt x="1560" y="3667"/>
                  </a:lnTo>
                  <a:lnTo>
                    <a:pt x="1567" y="3661"/>
                  </a:lnTo>
                  <a:lnTo>
                    <a:pt x="1575" y="3657"/>
                  </a:lnTo>
                  <a:lnTo>
                    <a:pt x="1582" y="3654"/>
                  </a:lnTo>
                  <a:lnTo>
                    <a:pt x="1591" y="3652"/>
                  </a:lnTo>
                  <a:lnTo>
                    <a:pt x="1600" y="3652"/>
                  </a:lnTo>
                  <a:lnTo>
                    <a:pt x="1607" y="3654"/>
                  </a:lnTo>
                  <a:lnTo>
                    <a:pt x="1684" y="3671"/>
                  </a:lnTo>
                  <a:lnTo>
                    <a:pt x="1761" y="3683"/>
                  </a:lnTo>
                  <a:lnTo>
                    <a:pt x="1761" y="3683"/>
                  </a:lnTo>
                  <a:lnTo>
                    <a:pt x="1768" y="3685"/>
                  </a:lnTo>
                  <a:lnTo>
                    <a:pt x="1777" y="3688"/>
                  </a:lnTo>
                  <a:lnTo>
                    <a:pt x="1785" y="3692"/>
                  </a:lnTo>
                  <a:lnTo>
                    <a:pt x="1791" y="3698"/>
                  </a:lnTo>
                  <a:lnTo>
                    <a:pt x="1796" y="3706"/>
                  </a:lnTo>
                  <a:lnTo>
                    <a:pt x="1801" y="3713"/>
                  </a:lnTo>
                  <a:lnTo>
                    <a:pt x="1804" y="3722"/>
                  </a:lnTo>
                  <a:lnTo>
                    <a:pt x="1807" y="3729"/>
                  </a:lnTo>
                  <a:lnTo>
                    <a:pt x="1807" y="3729"/>
                  </a:lnTo>
                  <a:lnTo>
                    <a:pt x="1814" y="3774"/>
                  </a:lnTo>
                  <a:lnTo>
                    <a:pt x="1822" y="3819"/>
                  </a:lnTo>
                  <a:lnTo>
                    <a:pt x="1832" y="3870"/>
                  </a:lnTo>
                  <a:lnTo>
                    <a:pt x="1832" y="3870"/>
                  </a:lnTo>
                  <a:lnTo>
                    <a:pt x="1842" y="3921"/>
                  </a:lnTo>
                  <a:lnTo>
                    <a:pt x="1853" y="3966"/>
                  </a:lnTo>
                  <a:lnTo>
                    <a:pt x="1864" y="4009"/>
                  </a:lnTo>
                  <a:lnTo>
                    <a:pt x="1864" y="4009"/>
                  </a:lnTo>
                  <a:lnTo>
                    <a:pt x="1866" y="4012"/>
                  </a:lnTo>
                  <a:lnTo>
                    <a:pt x="1867" y="4016"/>
                  </a:lnTo>
                  <a:lnTo>
                    <a:pt x="1875" y="4022"/>
                  </a:lnTo>
                  <a:lnTo>
                    <a:pt x="1884" y="4026"/>
                  </a:lnTo>
                  <a:lnTo>
                    <a:pt x="1893" y="4029"/>
                  </a:lnTo>
                  <a:lnTo>
                    <a:pt x="1967" y="4032"/>
                  </a:lnTo>
                  <a:lnTo>
                    <a:pt x="2008" y="4034"/>
                  </a:lnTo>
                  <a:lnTo>
                    <a:pt x="2008" y="4034"/>
                  </a:lnTo>
                  <a:lnTo>
                    <a:pt x="2023" y="4034"/>
                  </a:lnTo>
                  <a:lnTo>
                    <a:pt x="2035" y="4034"/>
                  </a:lnTo>
                  <a:lnTo>
                    <a:pt x="2046" y="4032"/>
                  </a:lnTo>
                  <a:lnTo>
                    <a:pt x="2046" y="4032"/>
                  </a:lnTo>
                  <a:lnTo>
                    <a:pt x="2057" y="4031"/>
                  </a:lnTo>
                  <a:lnTo>
                    <a:pt x="2066" y="4026"/>
                  </a:lnTo>
                  <a:lnTo>
                    <a:pt x="2073" y="4019"/>
                  </a:lnTo>
                  <a:lnTo>
                    <a:pt x="2076" y="4015"/>
                  </a:lnTo>
                  <a:lnTo>
                    <a:pt x="2077" y="4012"/>
                  </a:lnTo>
                  <a:lnTo>
                    <a:pt x="2077" y="4012"/>
                  </a:lnTo>
                  <a:lnTo>
                    <a:pt x="2089" y="3967"/>
                  </a:lnTo>
                  <a:lnTo>
                    <a:pt x="2114" y="3874"/>
                  </a:lnTo>
                  <a:lnTo>
                    <a:pt x="2114" y="3874"/>
                  </a:lnTo>
                  <a:lnTo>
                    <a:pt x="2135" y="3779"/>
                  </a:lnTo>
                  <a:lnTo>
                    <a:pt x="2144" y="3737"/>
                  </a:lnTo>
                  <a:lnTo>
                    <a:pt x="2144" y="3737"/>
                  </a:lnTo>
                  <a:lnTo>
                    <a:pt x="2147" y="3728"/>
                  </a:lnTo>
                  <a:lnTo>
                    <a:pt x="2150" y="3720"/>
                  </a:lnTo>
                  <a:lnTo>
                    <a:pt x="2156" y="3713"/>
                  </a:lnTo>
                  <a:lnTo>
                    <a:pt x="2160" y="3707"/>
                  </a:lnTo>
                  <a:lnTo>
                    <a:pt x="2168" y="3701"/>
                  </a:lnTo>
                  <a:lnTo>
                    <a:pt x="2175" y="3697"/>
                  </a:lnTo>
                  <a:lnTo>
                    <a:pt x="2182" y="3694"/>
                  </a:lnTo>
                  <a:lnTo>
                    <a:pt x="2191" y="3692"/>
                  </a:lnTo>
                  <a:lnTo>
                    <a:pt x="2347" y="3667"/>
                  </a:lnTo>
                  <a:lnTo>
                    <a:pt x="2347" y="3667"/>
                  </a:lnTo>
                  <a:lnTo>
                    <a:pt x="2354" y="3666"/>
                  </a:lnTo>
                  <a:lnTo>
                    <a:pt x="2363" y="3667"/>
                  </a:lnTo>
                  <a:lnTo>
                    <a:pt x="2370" y="3669"/>
                  </a:lnTo>
                  <a:lnTo>
                    <a:pt x="2379" y="3671"/>
                  </a:lnTo>
                  <a:lnTo>
                    <a:pt x="2387" y="3676"/>
                  </a:lnTo>
                  <a:lnTo>
                    <a:pt x="2394" y="3682"/>
                  </a:lnTo>
                  <a:lnTo>
                    <a:pt x="2400" y="3688"/>
                  </a:lnTo>
                  <a:lnTo>
                    <a:pt x="2404" y="3695"/>
                  </a:lnTo>
                  <a:lnTo>
                    <a:pt x="2404" y="3695"/>
                  </a:lnTo>
                  <a:lnTo>
                    <a:pt x="2426" y="3734"/>
                  </a:lnTo>
                  <a:lnTo>
                    <a:pt x="2475" y="3815"/>
                  </a:lnTo>
                  <a:lnTo>
                    <a:pt x="2475" y="3815"/>
                  </a:lnTo>
                  <a:lnTo>
                    <a:pt x="2503" y="3859"/>
                  </a:lnTo>
                  <a:lnTo>
                    <a:pt x="2529" y="3898"/>
                  </a:lnTo>
                  <a:lnTo>
                    <a:pt x="2554" y="3935"/>
                  </a:lnTo>
                  <a:lnTo>
                    <a:pt x="2554" y="3935"/>
                  </a:lnTo>
                  <a:lnTo>
                    <a:pt x="2557" y="3938"/>
                  </a:lnTo>
                  <a:lnTo>
                    <a:pt x="2560" y="3941"/>
                  </a:lnTo>
                  <a:lnTo>
                    <a:pt x="2568" y="3945"/>
                  </a:lnTo>
                  <a:lnTo>
                    <a:pt x="2579" y="3948"/>
                  </a:lnTo>
                  <a:lnTo>
                    <a:pt x="2589" y="3947"/>
                  </a:lnTo>
                  <a:lnTo>
                    <a:pt x="2589" y="3947"/>
                  </a:lnTo>
                  <a:lnTo>
                    <a:pt x="2611" y="3941"/>
                  </a:lnTo>
                  <a:lnTo>
                    <a:pt x="2734" y="3895"/>
                  </a:lnTo>
                  <a:lnTo>
                    <a:pt x="2734" y="3895"/>
                  </a:lnTo>
                  <a:lnTo>
                    <a:pt x="2743" y="3890"/>
                  </a:lnTo>
                  <a:lnTo>
                    <a:pt x="2750" y="3883"/>
                  </a:lnTo>
                  <a:lnTo>
                    <a:pt x="2755" y="3874"/>
                  </a:lnTo>
                  <a:lnTo>
                    <a:pt x="2755" y="3870"/>
                  </a:lnTo>
                  <a:lnTo>
                    <a:pt x="2756" y="3865"/>
                  </a:lnTo>
                  <a:lnTo>
                    <a:pt x="2752" y="3822"/>
                  </a:lnTo>
                  <a:lnTo>
                    <a:pt x="2741" y="3723"/>
                  </a:lnTo>
                  <a:lnTo>
                    <a:pt x="2741" y="3723"/>
                  </a:lnTo>
                  <a:lnTo>
                    <a:pt x="2730" y="3627"/>
                  </a:lnTo>
                  <a:lnTo>
                    <a:pt x="2722" y="3583"/>
                  </a:lnTo>
                  <a:lnTo>
                    <a:pt x="2722" y="3583"/>
                  </a:lnTo>
                  <a:lnTo>
                    <a:pt x="2722" y="3574"/>
                  </a:lnTo>
                  <a:lnTo>
                    <a:pt x="2722" y="3565"/>
                  </a:lnTo>
                  <a:lnTo>
                    <a:pt x="2725" y="3556"/>
                  </a:lnTo>
                  <a:lnTo>
                    <a:pt x="2728" y="3549"/>
                  </a:lnTo>
                  <a:lnTo>
                    <a:pt x="2733" y="3541"/>
                  </a:lnTo>
                  <a:lnTo>
                    <a:pt x="2739" y="3534"/>
                  </a:lnTo>
                  <a:lnTo>
                    <a:pt x="2744" y="3528"/>
                  </a:lnTo>
                  <a:lnTo>
                    <a:pt x="2752" y="3525"/>
                  </a:lnTo>
                  <a:lnTo>
                    <a:pt x="2774" y="3513"/>
                  </a:lnTo>
                  <a:lnTo>
                    <a:pt x="2774" y="3513"/>
                  </a:lnTo>
                  <a:lnTo>
                    <a:pt x="2787" y="3507"/>
                  </a:lnTo>
                  <a:lnTo>
                    <a:pt x="2787" y="3507"/>
                  </a:lnTo>
                  <a:lnTo>
                    <a:pt x="2804" y="3500"/>
                  </a:lnTo>
                  <a:lnTo>
                    <a:pt x="2820" y="3490"/>
                  </a:lnTo>
                  <a:lnTo>
                    <a:pt x="2888" y="3448"/>
                  </a:lnTo>
                  <a:lnTo>
                    <a:pt x="2888" y="3448"/>
                  </a:lnTo>
                  <a:lnTo>
                    <a:pt x="2895" y="3445"/>
                  </a:lnTo>
                  <a:lnTo>
                    <a:pt x="2904" y="3442"/>
                  </a:lnTo>
                  <a:lnTo>
                    <a:pt x="2912" y="3442"/>
                  </a:lnTo>
                  <a:lnTo>
                    <a:pt x="2920" y="3442"/>
                  </a:lnTo>
                  <a:lnTo>
                    <a:pt x="2929" y="3444"/>
                  </a:lnTo>
                  <a:lnTo>
                    <a:pt x="2938" y="3447"/>
                  </a:lnTo>
                  <a:lnTo>
                    <a:pt x="2946" y="3451"/>
                  </a:lnTo>
                  <a:lnTo>
                    <a:pt x="2953" y="3456"/>
                  </a:lnTo>
                  <a:lnTo>
                    <a:pt x="2953" y="3456"/>
                  </a:lnTo>
                  <a:lnTo>
                    <a:pt x="2988" y="3485"/>
                  </a:lnTo>
                  <a:lnTo>
                    <a:pt x="3022" y="3515"/>
                  </a:lnTo>
                  <a:lnTo>
                    <a:pt x="3062" y="3546"/>
                  </a:lnTo>
                  <a:lnTo>
                    <a:pt x="3062" y="3546"/>
                  </a:lnTo>
                  <a:lnTo>
                    <a:pt x="3139" y="3605"/>
                  </a:lnTo>
                  <a:lnTo>
                    <a:pt x="3175" y="3630"/>
                  </a:lnTo>
                  <a:lnTo>
                    <a:pt x="3175" y="3630"/>
                  </a:lnTo>
                  <a:lnTo>
                    <a:pt x="3179" y="3633"/>
                  </a:lnTo>
                  <a:lnTo>
                    <a:pt x="3184" y="3635"/>
                  </a:lnTo>
                  <a:lnTo>
                    <a:pt x="3193" y="3635"/>
                  </a:lnTo>
                  <a:lnTo>
                    <a:pt x="3203" y="3633"/>
                  </a:lnTo>
                  <a:lnTo>
                    <a:pt x="3212" y="3629"/>
                  </a:lnTo>
                  <a:lnTo>
                    <a:pt x="3271" y="3584"/>
                  </a:lnTo>
                  <a:lnTo>
                    <a:pt x="3280" y="3596"/>
                  </a:lnTo>
                  <a:lnTo>
                    <a:pt x="3274" y="3583"/>
                  </a:lnTo>
                  <a:lnTo>
                    <a:pt x="3274" y="3583"/>
                  </a:lnTo>
                  <a:lnTo>
                    <a:pt x="3295" y="3565"/>
                  </a:lnTo>
                  <a:lnTo>
                    <a:pt x="3332" y="3531"/>
                  </a:lnTo>
                  <a:lnTo>
                    <a:pt x="3332" y="3531"/>
                  </a:lnTo>
                  <a:lnTo>
                    <a:pt x="3337" y="3524"/>
                  </a:lnTo>
                  <a:lnTo>
                    <a:pt x="3342" y="3515"/>
                  </a:lnTo>
                  <a:lnTo>
                    <a:pt x="3343" y="3504"/>
                  </a:lnTo>
                  <a:lnTo>
                    <a:pt x="3342" y="3500"/>
                  </a:lnTo>
                  <a:lnTo>
                    <a:pt x="3340" y="3495"/>
                  </a:lnTo>
                  <a:lnTo>
                    <a:pt x="3340" y="3495"/>
                  </a:lnTo>
                  <a:lnTo>
                    <a:pt x="3323" y="3456"/>
                  </a:lnTo>
                  <a:lnTo>
                    <a:pt x="3281" y="3368"/>
                  </a:lnTo>
                  <a:lnTo>
                    <a:pt x="3281" y="3368"/>
                  </a:lnTo>
                  <a:lnTo>
                    <a:pt x="3252" y="3309"/>
                  </a:lnTo>
                  <a:lnTo>
                    <a:pt x="3218" y="3245"/>
                  </a:lnTo>
                  <a:lnTo>
                    <a:pt x="3213" y="3238"/>
                  </a:lnTo>
                  <a:lnTo>
                    <a:pt x="3213" y="3238"/>
                  </a:lnTo>
                  <a:lnTo>
                    <a:pt x="3213" y="3238"/>
                  </a:lnTo>
                  <a:lnTo>
                    <a:pt x="3212" y="3231"/>
                  </a:lnTo>
                  <a:lnTo>
                    <a:pt x="3210" y="3222"/>
                  </a:lnTo>
                  <a:lnTo>
                    <a:pt x="3209" y="3214"/>
                  </a:lnTo>
                  <a:lnTo>
                    <a:pt x="3210" y="3206"/>
                  </a:lnTo>
                  <a:lnTo>
                    <a:pt x="3212" y="3198"/>
                  </a:lnTo>
                  <a:lnTo>
                    <a:pt x="3215" y="3191"/>
                  </a:lnTo>
                  <a:lnTo>
                    <a:pt x="3218" y="3183"/>
                  </a:lnTo>
                  <a:lnTo>
                    <a:pt x="3222" y="3177"/>
                  </a:lnTo>
                  <a:lnTo>
                    <a:pt x="3222" y="3177"/>
                  </a:lnTo>
                  <a:lnTo>
                    <a:pt x="3278" y="3117"/>
                  </a:lnTo>
                  <a:lnTo>
                    <a:pt x="3317" y="3071"/>
                  </a:lnTo>
                  <a:lnTo>
                    <a:pt x="3317" y="3071"/>
                  </a:lnTo>
                  <a:lnTo>
                    <a:pt x="3324" y="3061"/>
                  </a:lnTo>
                  <a:lnTo>
                    <a:pt x="3324" y="3061"/>
                  </a:lnTo>
                  <a:lnTo>
                    <a:pt x="3330" y="3053"/>
                  </a:lnTo>
                  <a:lnTo>
                    <a:pt x="3337" y="3049"/>
                  </a:lnTo>
                  <a:lnTo>
                    <a:pt x="3345" y="3044"/>
                  </a:lnTo>
                  <a:lnTo>
                    <a:pt x="3352" y="3041"/>
                  </a:lnTo>
                  <a:lnTo>
                    <a:pt x="3361" y="3040"/>
                  </a:lnTo>
                  <a:lnTo>
                    <a:pt x="3370" y="3040"/>
                  </a:lnTo>
                  <a:lnTo>
                    <a:pt x="3379" y="3041"/>
                  </a:lnTo>
                  <a:lnTo>
                    <a:pt x="3388" y="3043"/>
                  </a:lnTo>
                  <a:lnTo>
                    <a:pt x="3388" y="3043"/>
                  </a:lnTo>
                  <a:lnTo>
                    <a:pt x="3429" y="3059"/>
                  </a:lnTo>
                  <a:lnTo>
                    <a:pt x="3472" y="3074"/>
                  </a:lnTo>
                  <a:lnTo>
                    <a:pt x="3521" y="3090"/>
                  </a:lnTo>
                  <a:lnTo>
                    <a:pt x="3521" y="3090"/>
                  </a:lnTo>
                  <a:lnTo>
                    <a:pt x="3614" y="3120"/>
                  </a:lnTo>
                  <a:lnTo>
                    <a:pt x="3658" y="3133"/>
                  </a:lnTo>
                  <a:lnTo>
                    <a:pt x="3658" y="3133"/>
                  </a:lnTo>
                  <a:lnTo>
                    <a:pt x="3663" y="3135"/>
                  </a:lnTo>
                  <a:lnTo>
                    <a:pt x="3667" y="3135"/>
                  </a:lnTo>
                  <a:lnTo>
                    <a:pt x="3676" y="3132"/>
                  </a:lnTo>
                  <a:lnTo>
                    <a:pt x="3685" y="3127"/>
                  </a:lnTo>
                  <a:lnTo>
                    <a:pt x="3691" y="3120"/>
                  </a:lnTo>
                  <a:lnTo>
                    <a:pt x="3771" y="2985"/>
                  </a:lnTo>
                  <a:lnTo>
                    <a:pt x="3771" y="2985"/>
                  </a:lnTo>
                  <a:lnTo>
                    <a:pt x="3774" y="2981"/>
                  </a:lnTo>
                  <a:lnTo>
                    <a:pt x="3775" y="2976"/>
                  </a:lnTo>
                  <a:lnTo>
                    <a:pt x="3775" y="2966"/>
                  </a:lnTo>
                  <a:lnTo>
                    <a:pt x="3772" y="2957"/>
                  </a:lnTo>
                  <a:lnTo>
                    <a:pt x="3768" y="2950"/>
                  </a:lnTo>
                  <a:lnTo>
                    <a:pt x="3768" y="2950"/>
                  </a:lnTo>
                  <a:lnTo>
                    <a:pt x="3735" y="2917"/>
                  </a:lnTo>
                  <a:lnTo>
                    <a:pt x="3703" y="2885"/>
                  </a:lnTo>
                  <a:lnTo>
                    <a:pt x="3666" y="2849"/>
                  </a:lnTo>
                  <a:lnTo>
                    <a:pt x="3666" y="2849"/>
                  </a:lnTo>
                  <a:lnTo>
                    <a:pt x="3627" y="2814"/>
                  </a:lnTo>
                  <a:lnTo>
                    <a:pt x="3595" y="2782"/>
                  </a:lnTo>
                  <a:lnTo>
                    <a:pt x="3561" y="2754"/>
                  </a:lnTo>
                  <a:lnTo>
                    <a:pt x="3561" y="2754"/>
                  </a:lnTo>
                  <a:lnTo>
                    <a:pt x="3555" y="2747"/>
                  </a:lnTo>
                  <a:lnTo>
                    <a:pt x="3550" y="2740"/>
                  </a:lnTo>
                  <a:lnTo>
                    <a:pt x="3546" y="2732"/>
                  </a:lnTo>
                  <a:lnTo>
                    <a:pt x="3543" y="2723"/>
                  </a:lnTo>
                  <a:lnTo>
                    <a:pt x="3542" y="2714"/>
                  </a:lnTo>
                  <a:lnTo>
                    <a:pt x="3542" y="2707"/>
                  </a:lnTo>
                  <a:lnTo>
                    <a:pt x="3543" y="2698"/>
                  </a:lnTo>
                  <a:lnTo>
                    <a:pt x="3546" y="2691"/>
                  </a:lnTo>
                  <a:lnTo>
                    <a:pt x="3556" y="2669"/>
                  </a:lnTo>
                  <a:lnTo>
                    <a:pt x="3556" y="2669"/>
                  </a:lnTo>
                  <a:lnTo>
                    <a:pt x="3568" y="2639"/>
                  </a:lnTo>
                  <a:lnTo>
                    <a:pt x="3601" y="2544"/>
                  </a:lnTo>
                  <a:lnTo>
                    <a:pt x="3601" y="2544"/>
                  </a:lnTo>
                  <a:lnTo>
                    <a:pt x="3605" y="2537"/>
                  </a:lnTo>
                  <a:lnTo>
                    <a:pt x="3610" y="2530"/>
                  </a:lnTo>
                  <a:lnTo>
                    <a:pt x="3616" y="2524"/>
                  </a:lnTo>
                  <a:lnTo>
                    <a:pt x="3623" y="2519"/>
                  </a:lnTo>
                  <a:lnTo>
                    <a:pt x="3630" y="2515"/>
                  </a:lnTo>
                  <a:lnTo>
                    <a:pt x="3639" y="2510"/>
                  </a:lnTo>
                  <a:lnTo>
                    <a:pt x="3647" y="2509"/>
                  </a:lnTo>
                  <a:lnTo>
                    <a:pt x="3655" y="2509"/>
                  </a:lnTo>
                  <a:lnTo>
                    <a:pt x="3655" y="2509"/>
                  </a:lnTo>
                  <a:lnTo>
                    <a:pt x="3657" y="2509"/>
                  </a:lnTo>
                  <a:lnTo>
                    <a:pt x="3700" y="2509"/>
                  </a:lnTo>
                  <a:lnTo>
                    <a:pt x="3796" y="2506"/>
                  </a:lnTo>
                  <a:lnTo>
                    <a:pt x="3796" y="2506"/>
                  </a:lnTo>
                  <a:lnTo>
                    <a:pt x="3892" y="2501"/>
                  </a:lnTo>
                  <a:lnTo>
                    <a:pt x="3938" y="2498"/>
                  </a:lnTo>
                  <a:lnTo>
                    <a:pt x="3938" y="2498"/>
                  </a:lnTo>
                  <a:lnTo>
                    <a:pt x="3942" y="2498"/>
                  </a:lnTo>
                  <a:lnTo>
                    <a:pt x="3945" y="2497"/>
                  </a:lnTo>
                  <a:lnTo>
                    <a:pt x="3954" y="2491"/>
                  </a:lnTo>
                  <a:lnTo>
                    <a:pt x="3960" y="2484"/>
                  </a:lnTo>
                  <a:lnTo>
                    <a:pt x="3965" y="2473"/>
                  </a:lnTo>
                  <a:lnTo>
                    <a:pt x="3982" y="2402"/>
                  </a:lnTo>
                  <a:lnTo>
                    <a:pt x="3994" y="2322"/>
                  </a:lnTo>
                  <a:lnTo>
                    <a:pt x="3994" y="2322"/>
                  </a:lnTo>
                  <a:lnTo>
                    <a:pt x="3993" y="2312"/>
                  </a:lnTo>
                  <a:lnTo>
                    <a:pt x="3990" y="2303"/>
                  </a:lnTo>
                  <a:lnTo>
                    <a:pt x="3985" y="2294"/>
                  </a:lnTo>
                  <a:lnTo>
                    <a:pt x="3982" y="2291"/>
                  </a:lnTo>
                  <a:lnTo>
                    <a:pt x="3978" y="2290"/>
                  </a:lnTo>
                  <a:lnTo>
                    <a:pt x="3978" y="2290"/>
                  </a:lnTo>
                  <a:lnTo>
                    <a:pt x="3938" y="2269"/>
                  </a:lnTo>
                  <a:lnTo>
                    <a:pt x="3851" y="2229"/>
                  </a:lnTo>
                  <a:lnTo>
                    <a:pt x="3721" y="2176"/>
                  </a:lnTo>
                  <a:lnTo>
                    <a:pt x="3721" y="2176"/>
                  </a:lnTo>
                  <a:lnTo>
                    <a:pt x="3712" y="2172"/>
                  </a:lnTo>
                  <a:lnTo>
                    <a:pt x="3704" y="2167"/>
                  </a:lnTo>
                  <a:lnTo>
                    <a:pt x="3698" y="2161"/>
                  </a:lnTo>
                  <a:lnTo>
                    <a:pt x="3692" y="2154"/>
                  </a:lnTo>
                  <a:lnTo>
                    <a:pt x="3688" y="2146"/>
                  </a:lnTo>
                  <a:lnTo>
                    <a:pt x="3685" y="2139"/>
                  </a:lnTo>
                  <a:lnTo>
                    <a:pt x="3684" y="2130"/>
                  </a:lnTo>
                  <a:lnTo>
                    <a:pt x="3682" y="2123"/>
                  </a:lnTo>
                  <a:lnTo>
                    <a:pt x="3682" y="2123"/>
                  </a:lnTo>
                  <a:lnTo>
                    <a:pt x="3687" y="2040"/>
                  </a:lnTo>
                  <a:lnTo>
                    <a:pt x="3687" y="1979"/>
                  </a:lnTo>
                  <a:lnTo>
                    <a:pt x="3687" y="1979"/>
                  </a:lnTo>
                  <a:lnTo>
                    <a:pt x="3685" y="1966"/>
                  </a:lnTo>
                  <a:lnTo>
                    <a:pt x="3685" y="1966"/>
                  </a:lnTo>
                  <a:lnTo>
                    <a:pt x="3685" y="1957"/>
                  </a:lnTo>
                  <a:lnTo>
                    <a:pt x="3688" y="1950"/>
                  </a:lnTo>
                  <a:lnTo>
                    <a:pt x="3691" y="1941"/>
                  </a:lnTo>
                  <a:lnTo>
                    <a:pt x="3695" y="1933"/>
                  </a:lnTo>
                  <a:lnTo>
                    <a:pt x="3701" y="1928"/>
                  </a:lnTo>
                  <a:lnTo>
                    <a:pt x="3707" y="1922"/>
                  </a:lnTo>
                  <a:lnTo>
                    <a:pt x="3715" y="1916"/>
                  </a:lnTo>
                  <a:lnTo>
                    <a:pt x="3723" y="1913"/>
                  </a:lnTo>
                  <a:lnTo>
                    <a:pt x="3723" y="1913"/>
                  </a:lnTo>
                  <a:close/>
                  <a:moveTo>
                    <a:pt x="2002" y="2396"/>
                  </a:moveTo>
                  <a:lnTo>
                    <a:pt x="2002" y="2396"/>
                  </a:lnTo>
                  <a:lnTo>
                    <a:pt x="1983" y="2395"/>
                  </a:lnTo>
                  <a:lnTo>
                    <a:pt x="1964" y="2393"/>
                  </a:lnTo>
                  <a:lnTo>
                    <a:pt x="1944" y="2392"/>
                  </a:lnTo>
                  <a:lnTo>
                    <a:pt x="1927" y="2388"/>
                  </a:lnTo>
                  <a:lnTo>
                    <a:pt x="1907" y="2385"/>
                  </a:lnTo>
                  <a:lnTo>
                    <a:pt x="1890" y="2379"/>
                  </a:lnTo>
                  <a:lnTo>
                    <a:pt x="1872" y="2373"/>
                  </a:lnTo>
                  <a:lnTo>
                    <a:pt x="1856" y="2367"/>
                  </a:lnTo>
                  <a:lnTo>
                    <a:pt x="1838" y="2358"/>
                  </a:lnTo>
                  <a:lnTo>
                    <a:pt x="1822" y="2351"/>
                  </a:lnTo>
                  <a:lnTo>
                    <a:pt x="1791" y="2331"/>
                  </a:lnTo>
                  <a:lnTo>
                    <a:pt x="1761" y="2309"/>
                  </a:lnTo>
                  <a:lnTo>
                    <a:pt x="1734" y="2285"/>
                  </a:lnTo>
                  <a:lnTo>
                    <a:pt x="1711" y="2257"/>
                  </a:lnTo>
                  <a:lnTo>
                    <a:pt x="1688" y="2229"/>
                  </a:lnTo>
                  <a:lnTo>
                    <a:pt x="1669" y="2198"/>
                  </a:lnTo>
                  <a:lnTo>
                    <a:pt x="1662" y="2182"/>
                  </a:lnTo>
                  <a:lnTo>
                    <a:pt x="1653" y="2164"/>
                  </a:lnTo>
                  <a:lnTo>
                    <a:pt x="1647" y="2148"/>
                  </a:lnTo>
                  <a:lnTo>
                    <a:pt x="1641" y="2130"/>
                  </a:lnTo>
                  <a:lnTo>
                    <a:pt x="1635" y="2112"/>
                  </a:lnTo>
                  <a:lnTo>
                    <a:pt x="1631" y="2093"/>
                  </a:lnTo>
                  <a:lnTo>
                    <a:pt x="1628" y="2075"/>
                  </a:lnTo>
                  <a:lnTo>
                    <a:pt x="1626" y="2056"/>
                  </a:lnTo>
                  <a:lnTo>
                    <a:pt x="1625" y="2037"/>
                  </a:lnTo>
                  <a:lnTo>
                    <a:pt x="1623" y="2018"/>
                  </a:lnTo>
                  <a:lnTo>
                    <a:pt x="1623" y="2018"/>
                  </a:lnTo>
                  <a:lnTo>
                    <a:pt x="1625" y="1997"/>
                  </a:lnTo>
                  <a:lnTo>
                    <a:pt x="1626" y="1978"/>
                  </a:lnTo>
                  <a:lnTo>
                    <a:pt x="1628" y="1960"/>
                  </a:lnTo>
                  <a:lnTo>
                    <a:pt x="1631" y="1941"/>
                  </a:lnTo>
                  <a:lnTo>
                    <a:pt x="1635" y="1923"/>
                  </a:lnTo>
                  <a:lnTo>
                    <a:pt x="1641" y="1904"/>
                  </a:lnTo>
                  <a:lnTo>
                    <a:pt x="1647" y="1888"/>
                  </a:lnTo>
                  <a:lnTo>
                    <a:pt x="1653" y="1870"/>
                  </a:lnTo>
                  <a:lnTo>
                    <a:pt x="1662" y="1854"/>
                  </a:lnTo>
                  <a:lnTo>
                    <a:pt x="1669" y="1837"/>
                  </a:lnTo>
                  <a:lnTo>
                    <a:pt x="1688" y="1805"/>
                  </a:lnTo>
                  <a:lnTo>
                    <a:pt x="1711" y="1777"/>
                  </a:lnTo>
                  <a:lnTo>
                    <a:pt x="1734" y="1750"/>
                  </a:lnTo>
                  <a:lnTo>
                    <a:pt x="1761" y="1725"/>
                  </a:lnTo>
                  <a:lnTo>
                    <a:pt x="1791" y="1703"/>
                  </a:lnTo>
                  <a:lnTo>
                    <a:pt x="1822" y="1683"/>
                  </a:lnTo>
                  <a:lnTo>
                    <a:pt x="1838" y="1676"/>
                  </a:lnTo>
                  <a:lnTo>
                    <a:pt x="1856" y="1669"/>
                  </a:lnTo>
                  <a:lnTo>
                    <a:pt x="1872" y="1661"/>
                  </a:lnTo>
                  <a:lnTo>
                    <a:pt x="1890" y="1655"/>
                  </a:lnTo>
                  <a:lnTo>
                    <a:pt x="1907" y="1651"/>
                  </a:lnTo>
                  <a:lnTo>
                    <a:pt x="1927" y="1646"/>
                  </a:lnTo>
                  <a:lnTo>
                    <a:pt x="1944" y="1644"/>
                  </a:lnTo>
                  <a:lnTo>
                    <a:pt x="1964" y="1641"/>
                  </a:lnTo>
                  <a:lnTo>
                    <a:pt x="1983" y="1639"/>
                  </a:lnTo>
                  <a:lnTo>
                    <a:pt x="2002" y="1639"/>
                  </a:lnTo>
                  <a:lnTo>
                    <a:pt x="2002" y="1639"/>
                  </a:lnTo>
                  <a:lnTo>
                    <a:pt x="2021" y="1639"/>
                  </a:lnTo>
                  <a:lnTo>
                    <a:pt x="2040" y="1641"/>
                  </a:lnTo>
                  <a:lnTo>
                    <a:pt x="2060" y="1644"/>
                  </a:lnTo>
                  <a:lnTo>
                    <a:pt x="2079" y="1646"/>
                  </a:lnTo>
                  <a:lnTo>
                    <a:pt x="2097" y="1651"/>
                  </a:lnTo>
                  <a:lnTo>
                    <a:pt x="2114" y="1655"/>
                  </a:lnTo>
                  <a:lnTo>
                    <a:pt x="2132" y="1661"/>
                  </a:lnTo>
                  <a:lnTo>
                    <a:pt x="2150" y="1669"/>
                  </a:lnTo>
                  <a:lnTo>
                    <a:pt x="2166" y="1676"/>
                  </a:lnTo>
                  <a:lnTo>
                    <a:pt x="2182" y="1683"/>
                  </a:lnTo>
                  <a:lnTo>
                    <a:pt x="2213" y="1703"/>
                  </a:lnTo>
                  <a:lnTo>
                    <a:pt x="2243" y="1725"/>
                  </a:lnTo>
                  <a:lnTo>
                    <a:pt x="2270" y="1750"/>
                  </a:lnTo>
                  <a:lnTo>
                    <a:pt x="2295" y="1777"/>
                  </a:lnTo>
                  <a:lnTo>
                    <a:pt x="2317" y="1805"/>
                  </a:lnTo>
                  <a:lnTo>
                    <a:pt x="2335" y="1837"/>
                  </a:lnTo>
                  <a:lnTo>
                    <a:pt x="2344" y="1854"/>
                  </a:lnTo>
                  <a:lnTo>
                    <a:pt x="2351" y="1870"/>
                  </a:lnTo>
                  <a:lnTo>
                    <a:pt x="2358" y="1888"/>
                  </a:lnTo>
                  <a:lnTo>
                    <a:pt x="2364" y="1904"/>
                  </a:lnTo>
                  <a:lnTo>
                    <a:pt x="2369" y="1923"/>
                  </a:lnTo>
                  <a:lnTo>
                    <a:pt x="2373" y="1941"/>
                  </a:lnTo>
                  <a:lnTo>
                    <a:pt x="2376" y="1960"/>
                  </a:lnTo>
                  <a:lnTo>
                    <a:pt x="2379" y="1978"/>
                  </a:lnTo>
                  <a:lnTo>
                    <a:pt x="2381" y="1997"/>
                  </a:lnTo>
                  <a:lnTo>
                    <a:pt x="2381" y="2018"/>
                  </a:lnTo>
                  <a:lnTo>
                    <a:pt x="2381" y="2018"/>
                  </a:lnTo>
                  <a:lnTo>
                    <a:pt x="2381" y="2037"/>
                  </a:lnTo>
                  <a:lnTo>
                    <a:pt x="2379" y="2056"/>
                  </a:lnTo>
                  <a:lnTo>
                    <a:pt x="2376" y="2075"/>
                  </a:lnTo>
                  <a:lnTo>
                    <a:pt x="2373" y="2093"/>
                  </a:lnTo>
                  <a:lnTo>
                    <a:pt x="2369" y="2112"/>
                  </a:lnTo>
                  <a:lnTo>
                    <a:pt x="2364" y="2130"/>
                  </a:lnTo>
                  <a:lnTo>
                    <a:pt x="2358" y="2148"/>
                  </a:lnTo>
                  <a:lnTo>
                    <a:pt x="2351" y="2164"/>
                  </a:lnTo>
                  <a:lnTo>
                    <a:pt x="2344" y="2182"/>
                  </a:lnTo>
                  <a:lnTo>
                    <a:pt x="2335" y="2198"/>
                  </a:lnTo>
                  <a:lnTo>
                    <a:pt x="2317" y="2229"/>
                  </a:lnTo>
                  <a:lnTo>
                    <a:pt x="2295" y="2257"/>
                  </a:lnTo>
                  <a:lnTo>
                    <a:pt x="2270" y="2285"/>
                  </a:lnTo>
                  <a:lnTo>
                    <a:pt x="2243" y="2309"/>
                  </a:lnTo>
                  <a:lnTo>
                    <a:pt x="2213" y="2331"/>
                  </a:lnTo>
                  <a:lnTo>
                    <a:pt x="2182" y="2351"/>
                  </a:lnTo>
                  <a:lnTo>
                    <a:pt x="2166" y="2358"/>
                  </a:lnTo>
                  <a:lnTo>
                    <a:pt x="2150" y="2367"/>
                  </a:lnTo>
                  <a:lnTo>
                    <a:pt x="2132" y="2373"/>
                  </a:lnTo>
                  <a:lnTo>
                    <a:pt x="2114" y="2379"/>
                  </a:lnTo>
                  <a:lnTo>
                    <a:pt x="2097" y="2385"/>
                  </a:lnTo>
                  <a:lnTo>
                    <a:pt x="2079" y="2388"/>
                  </a:lnTo>
                  <a:lnTo>
                    <a:pt x="2060" y="2392"/>
                  </a:lnTo>
                  <a:lnTo>
                    <a:pt x="2040" y="2393"/>
                  </a:lnTo>
                  <a:lnTo>
                    <a:pt x="2021" y="2395"/>
                  </a:lnTo>
                  <a:lnTo>
                    <a:pt x="2002" y="2396"/>
                  </a:lnTo>
                  <a:lnTo>
                    <a:pt x="2002" y="2396"/>
                  </a:lnTo>
                  <a:close/>
                </a:path>
              </a:pathLst>
            </a:custGeom>
            <a:solidFill>
              <a:srgbClr val="F0E4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55" name="Freeform 7"/>
            <p:cNvSpPr>
              <a:spLocks/>
            </p:cNvSpPr>
            <p:nvPr/>
          </p:nvSpPr>
          <p:spPr bwMode="auto">
            <a:xfrm>
              <a:off x="6627686" y="2867154"/>
              <a:ext cx="1424114" cy="565378"/>
            </a:xfrm>
            <a:custGeom>
              <a:avLst/>
              <a:gdLst/>
              <a:ahLst/>
              <a:cxnLst>
                <a:cxn ang="0">
                  <a:pos x="3430" y="953"/>
                </a:cxn>
                <a:cxn ang="0">
                  <a:pos x="3321" y="797"/>
                </a:cxn>
                <a:cxn ang="0">
                  <a:pos x="3197" y="652"/>
                </a:cxn>
                <a:cxn ang="0">
                  <a:pos x="3062" y="518"/>
                </a:cxn>
                <a:cxn ang="0">
                  <a:pos x="2914" y="399"/>
                </a:cxn>
                <a:cxn ang="0">
                  <a:pos x="2755" y="293"/>
                </a:cxn>
                <a:cxn ang="0">
                  <a:pos x="2587" y="202"/>
                </a:cxn>
                <a:cxn ang="0">
                  <a:pos x="2411" y="127"/>
                </a:cxn>
                <a:cxn ang="0">
                  <a:pos x="2225" y="68"/>
                </a:cxn>
                <a:cxn ang="0">
                  <a:pos x="2034" y="27"/>
                </a:cxn>
                <a:cxn ang="0">
                  <a:pos x="1835" y="4"/>
                </a:cxn>
                <a:cxn ang="0">
                  <a:pos x="1699" y="0"/>
                </a:cxn>
                <a:cxn ang="0">
                  <a:pos x="1503" y="9"/>
                </a:cxn>
                <a:cxn ang="0">
                  <a:pos x="1312" y="37"/>
                </a:cxn>
                <a:cxn ang="0">
                  <a:pos x="1126" y="81"/>
                </a:cxn>
                <a:cxn ang="0">
                  <a:pos x="948" y="143"/>
                </a:cxn>
                <a:cxn ang="0">
                  <a:pos x="777" y="219"/>
                </a:cxn>
                <a:cxn ang="0">
                  <a:pos x="615" y="311"/>
                </a:cxn>
                <a:cxn ang="0">
                  <a:pos x="464" y="415"/>
                </a:cxn>
                <a:cxn ang="0">
                  <a:pos x="321" y="535"/>
                </a:cxn>
                <a:cxn ang="0">
                  <a:pos x="191" y="664"/>
                </a:cxn>
                <a:cxn ang="0">
                  <a:pos x="72" y="807"/>
                </a:cxn>
                <a:cxn ang="0">
                  <a:pos x="385" y="897"/>
                </a:cxn>
                <a:cxn ang="0">
                  <a:pos x="599" y="1237"/>
                </a:cxn>
                <a:cxn ang="0">
                  <a:pos x="676" y="1141"/>
                </a:cxn>
                <a:cxn ang="0">
                  <a:pos x="761" y="1055"/>
                </a:cxn>
                <a:cxn ang="0">
                  <a:pos x="852" y="975"/>
                </a:cxn>
                <a:cxn ang="0">
                  <a:pos x="951" y="904"/>
                </a:cxn>
                <a:cxn ang="0">
                  <a:pos x="1056" y="841"/>
                </a:cxn>
                <a:cxn ang="0">
                  <a:pos x="1168" y="788"/>
                </a:cxn>
                <a:cxn ang="0">
                  <a:pos x="1282" y="745"/>
                </a:cxn>
                <a:cxn ang="0">
                  <a:pos x="1403" y="713"/>
                </a:cxn>
                <a:cxn ang="0">
                  <a:pos x="1528" y="691"/>
                </a:cxn>
                <a:cxn ang="0">
                  <a:pos x="1657" y="680"/>
                </a:cxn>
                <a:cxn ang="0">
                  <a:pos x="1743" y="680"/>
                </a:cxn>
                <a:cxn ang="0">
                  <a:pos x="1875" y="691"/>
                </a:cxn>
                <a:cxn ang="0">
                  <a:pos x="2001" y="713"/>
                </a:cxn>
                <a:cxn ang="0">
                  <a:pos x="2123" y="747"/>
                </a:cxn>
                <a:cxn ang="0">
                  <a:pos x="2240" y="791"/>
                </a:cxn>
                <a:cxn ang="0">
                  <a:pos x="2353" y="845"/>
                </a:cxn>
                <a:cxn ang="0">
                  <a:pos x="2458" y="910"/>
                </a:cxn>
                <a:cxn ang="0">
                  <a:pos x="2558" y="984"/>
                </a:cxn>
                <a:cxn ang="0">
                  <a:pos x="2651" y="1065"/>
                </a:cxn>
                <a:cxn ang="0">
                  <a:pos x="2735" y="1155"/>
                </a:cxn>
                <a:cxn ang="0">
                  <a:pos x="2811" y="1252"/>
                </a:cxn>
                <a:cxn ang="0">
                  <a:pos x="2636" y="1402"/>
                </a:cxn>
                <a:cxn ang="0">
                  <a:pos x="3624" y="844"/>
                </a:cxn>
              </a:cxnLst>
              <a:rect l="0" t="0" r="r" b="b"/>
              <a:pathLst>
                <a:path w="3626" h="1438">
                  <a:moveTo>
                    <a:pt x="3624" y="844"/>
                  </a:moveTo>
                  <a:lnTo>
                    <a:pt x="3430" y="953"/>
                  </a:lnTo>
                  <a:lnTo>
                    <a:pt x="3430" y="953"/>
                  </a:lnTo>
                  <a:lnTo>
                    <a:pt x="3395" y="900"/>
                  </a:lnTo>
                  <a:lnTo>
                    <a:pt x="3358" y="847"/>
                  </a:lnTo>
                  <a:lnTo>
                    <a:pt x="3321" y="797"/>
                  </a:lnTo>
                  <a:lnTo>
                    <a:pt x="3281" y="747"/>
                  </a:lnTo>
                  <a:lnTo>
                    <a:pt x="3240" y="698"/>
                  </a:lnTo>
                  <a:lnTo>
                    <a:pt x="3197" y="652"/>
                  </a:lnTo>
                  <a:lnTo>
                    <a:pt x="3153" y="607"/>
                  </a:lnTo>
                  <a:lnTo>
                    <a:pt x="3109" y="563"/>
                  </a:lnTo>
                  <a:lnTo>
                    <a:pt x="3062" y="518"/>
                  </a:lnTo>
                  <a:lnTo>
                    <a:pt x="3013" y="477"/>
                  </a:lnTo>
                  <a:lnTo>
                    <a:pt x="2964" y="437"/>
                  </a:lnTo>
                  <a:lnTo>
                    <a:pt x="2914" y="399"/>
                  </a:lnTo>
                  <a:lnTo>
                    <a:pt x="2863" y="362"/>
                  </a:lnTo>
                  <a:lnTo>
                    <a:pt x="2810" y="327"/>
                  </a:lnTo>
                  <a:lnTo>
                    <a:pt x="2755" y="293"/>
                  </a:lnTo>
                  <a:lnTo>
                    <a:pt x="2701" y="261"/>
                  </a:lnTo>
                  <a:lnTo>
                    <a:pt x="2645" y="231"/>
                  </a:lnTo>
                  <a:lnTo>
                    <a:pt x="2587" y="202"/>
                  </a:lnTo>
                  <a:lnTo>
                    <a:pt x="2530" y="175"/>
                  </a:lnTo>
                  <a:lnTo>
                    <a:pt x="2471" y="150"/>
                  </a:lnTo>
                  <a:lnTo>
                    <a:pt x="2411" y="127"/>
                  </a:lnTo>
                  <a:lnTo>
                    <a:pt x="2350" y="105"/>
                  </a:lnTo>
                  <a:lnTo>
                    <a:pt x="2288" y="85"/>
                  </a:lnTo>
                  <a:lnTo>
                    <a:pt x="2225" y="68"/>
                  </a:lnTo>
                  <a:lnTo>
                    <a:pt x="2162" y="52"/>
                  </a:lnTo>
                  <a:lnTo>
                    <a:pt x="2098" y="38"/>
                  </a:lnTo>
                  <a:lnTo>
                    <a:pt x="2034" y="27"/>
                  </a:lnTo>
                  <a:lnTo>
                    <a:pt x="1967" y="16"/>
                  </a:lnTo>
                  <a:lnTo>
                    <a:pt x="1903" y="9"/>
                  </a:lnTo>
                  <a:lnTo>
                    <a:pt x="1835" y="4"/>
                  </a:lnTo>
                  <a:lnTo>
                    <a:pt x="1768" y="0"/>
                  </a:lnTo>
                  <a:lnTo>
                    <a:pt x="1699" y="0"/>
                  </a:lnTo>
                  <a:lnTo>
                    <a:pt x="1699" y="0"/>
                  </a:lnTo>
                  <a:lnTo>
                    <a:pt x="1634" y="0"/>
                  </a:lnTo>
                  <a:lnTo>
                    <a:pt x="1568" y="3"/>
                  </a:lnTo>
                  <a:lnTo>
                    <a:pt x="1503" y="9"/>
                  </a:lnTo>
                  <a:lnTo>
                    <a:pt x="1439" y="16"/>
                  </a:lnTo>
                  <a:lnTo>
                    <a:pt x="1375" y="25"/>
                  </a:lnTo>
                  <a:lnTo>
                    <a:pt x="1312" y="37"/>
                  </a:lnTo>
                  <a:lnTo>
                    <a:pt x="1250" y="49"/>
                  </a:lnTo>
                  <a:lnTo>
                    <a:pt x="1188" y="65"/>
                  </a:lnTo>
                  <a:lnTo>
                    <a:pt x="1126" y="81"/>
                  </a:lnTo>
                  <a:lnTo>
                    <a:pt x="1066" y="100"/>
                  </a:lnTo>
                  <a:lnTo>
                    <a:pt x="1007" y="121"/>
                  </a:lnTo>
                  <a:lnTo>
                    <a:pt x="948" y="143"/>
                  </a:lnTo>
                  <a:lnTo>
                    <a:pt x="891" y="166"/>
                  </a:lnTo>
                  <a:lnTo>
                    <a:pt x="833" y="191"/>
                  </a:lnTo>
                  <a:lnTo>
                    <a:pt x="777" y="219"/>
                  </a:lnTo>
                  <a:lnTo>
                    <a:pt x="723" y="247"/>
                  </a:lnTo>
                  <a:lnTo>
                    <a:pt x="668" y="278"/>
                  </a:lnTo>
                  <a:lnTo>
                    <a:pt x="615" y="311"/>
                  </a:lnTo>
                  <a:lnTo>
                    <a:pt x="564" y="345"/>
                  </a:lnTo>
                  <a:lnTo>
                    <a:pt x="514" y="380"/>
                  </a:lnTo>
                  <a:lnTo>
                    <a:pt x="464" y="415"/>
                  </a:lnTo>
                  <a:lnTo>
                    <a:pt x="415" y="454"/>
                  </a:lnTo>
                  <a:lnTo>
                    <a:pt x="368" y="493"/>
                  </a:lnTo>
                  <a:lnTo>
                    <a:pt x="321" y="535"/>
                  </a:lnTo>
                  <a:lnTo>
                    <a:pt x="276" y="576"/>
                  </a:lnTo>
                  <a:lnTo>
                    <a:pt x="232" y="620"/>
                  </a:lnTo>
                  <a:lnTo>
                    <a:pt x="191" y="664"/>
                  </a:lnTo>
                  <a:lnTo>
                    <a:pt x="150" y="711"/>
                  </a:lnTo>
                  <a:lnTo>
                    <a:pt x="110" y="759"/>
                  </a:lnTo>
                  <a:lnTo>
                    <a:pt x="72" y="807"/>
                  </a:lnTo>
                  <a:lnTo>
                    <a:pt x="35" y="856"/>
                  </a:lnTo>
                  <a:lnTo>
                    <a:pt x="0" y="907"/>
                  </a:lnTo>
                  <a:lnTo>
                    <a:pt x="385" y="897"/>
                  </a:lnTo>
                  <a:lnTo>
                    <a:pt x="575" y="1270"/>
                  </a:lnTo>
                  <a:lnTo>
                    <a:pt x="575" y="1270"/>
                  </a:lnTo>
                  <a:lnTo>
                    <a:pt x="599" y="1237"/>
                  </a:lnTo>
                  <a:lnTo>
                    <a:pt x="624" y="1205"/>
                  </a:lnTo>
                  <a:lnTo>
                    <a:pt x="649" y="1172"/>
                  </a:lnTo>
                  <a:lnTo>
                    <a:pt x="676" y="1141"/>
                  </a:lnTo>
                  <a:lnTo>
                    <a:pt x="704" y="1112"/>
                  </a:lnTo>
                  <a:lnTo>
                    <a:pt x="732" y="1083"/>
                  </a:lnTo>
                  <a:lnTo>
                    <a:pt x="761" y="1055"/>
                  </a:lnTo>
                  <a:lnTo>
                    <a:pt x="791" y="1028"/>
                  </a:lnTo>
                  <a:lnTo>
                    <a:pt x="821" y="1000"/>
                  </a:lnTo>
                  <a:lnTo>
                    <a:pt x="852" y="975"/>
                  </a:lnTo>
                  <a:lnTo>
                    <a:pt x="885" y="950"/>
                  </a:lnTo>
                  <a:lnTo>
                    <a:pt x="917" y="926"/>
                  </a:lnTo>
                  <a:lnTo>
                    <a:pt x="951" y="904"/>
                  </a:lnTo>
                  <a:lnTo>
                    <a:pt x="985" y="882"/>
                  </a:lnTo>
                  <a:lnTo>
                    <a:pt x="1020" y="862"/>
                  </a:lnTo>
                  <a:lnTo>
                    <a:pt x="1056" y="841"/>
                  </a:lnTo>
                  <a:lnTo>
                    <a:pt x="1092" y="822"/>
                  </a:lnTo>
                  <a:lnTo>
                    <a:pt x="1129" y="804"/>
                  </a:lnTo>
                  <a:lnTo>
                    <a:pt x="1168" y="788"/>
                  </a:lnTo>
                  <a:lnTo>
                    <a:pt x="1204" y="773"/>
                  </a:lnTo>
                  <a:lnTo>
                    <a:pt x="1244" y="759"/>
                  </a:lnTo>
                  <a:lnTo>
                    <a:pt x="1282" y="745"/>
                  </a:lnTo>
                  <a:lnTo>
                    <a:pt x="1322" y="734"/>
                  </a:lnTo>
                  <a:lnTo>
                    <a:pt x="1363" y="722"/>
                  </a:lnTo>
                  <a:lnTo>
                    <a:pt x="1403" y="713"/>
                  </a:lnTo>
                  <a:lnTo>
                    <a:pt x="1444" y="704"/>
                  </a:lnTo>
                  <a:lnTo>
                    <a:pt x="1486" y="697"/>
                  </a:lnTo>
                  <a:lnTo>
                    <a:pt x="1528" y="691"/>
                  </a:lnTo>
                  <a:lnTo>
                    <a:pt x="1571" y="686"/>
                  </a:lnTo>
                  <a:lnTo>
                    <a:pt x="1614" y="682"/>
                  </a:lnTo>
                  <a:lnTo>
                    <a:pt x="1657" y="680"/>
                  </a:lnTo>
                  <a:lnTo>
                    <a:pt x="1699" y="680"/>
                  </a:lnTo>
                  <a:lnTo>
                    <a:pt x="1699" y="680"/>
                  </a:lnTo>
                  <a:lnTo>
                    <a:pt x="1743" y="680"/>
                  </a:lnTo>
                  <a:lnTo>
                    <a:pt x="1788" y="682"/>
                  </a:lnTo>
                  <a:lnTo>
                    <a:pt x="1832" y="686"/>
                  </a:lnTo>
                  <a:lnTo>
                    <a:pt x="1875" y="691"/>
                  </a:lnTo>
                  <a:lnTo>
                    <a:pt x="1917" y="697"/>
                  </a:lnTo>
                  <a:lnTo>
                    <a:pt x="1958" y="704"/>
                  </a:lnTo>
                  <a:lnTo>
                    <a:pt x="2001" y="713"/>
                  </a:lnTo>
                  <a:lnTo>
                    <a:pt x="2042" y="723"/>
                  </a:lnTo>
                  <a:lnTo>
                    <a:pt x="2082" y="735"/>
                  </a:lnTo>
                  <a:lnTo>
                    <a:pt x="2123" y="747"/>
                  </a:lnTo>
                  <a:lnTo>
                    <a:pt x="2163" y="760"/>
                  </a:lnTo>
                  <a:lnTo>
                    <a:pt x="2202" y="775"/>
                  </a:lnTo>
                  <a:lnTo>
                    <a:pt x="2240" y="791"/>
                  </a:lnTo>
                  <a:lnTo>
                    <a:pt x="2278" y="809"/>
                  </a:lnTo>
                  <a:lnTo>
                    <a:pt x="2316" y="826"/>
                  </a:lnTo>
                  <a:lnTo>
                    <a:pt x="2353" y="845"/>
                  </a:lnTo>
                  <a:lnTo>
                    <a:pt x="2389" y="866"/>
                  </a:lnTo>
                  <a:lnTo>
                    <a:pt x="2424" y="888"/>
                  </a:lnTo>
                  <a:lnTo>
                    <a:pt x="2458" y="910"/>
                  </a:lnTo>
                  <a:lnTo>
                    <a:pt x="2493" y="934"/>
                  </a:lnTo>
                  <a:lnTo>
                    <a:pt x="2526" y="959"/>
                  </a:lnTo>
                  <a:lnTo>
                    <a:pt x="2558" y="984"/>
                  </a:lnTo>
                  <a:lnTo>
                    <a:pt x="2589" y="1010"/>
                  </a:lnTo>
                  <a:lnTo>
                    <a:pt x="2620" y="1037"/>
                  </a:lnTo>
                  <a:lnTo>
                    <a:pt x="2651" y="1065"/>
                  </a:lnTo>
                  <a:lnTo>
                    <a:pt x="2680" y="1094"/>
                  </a:lnTo>
                  <a:lnTo>
                    <a:pt x="2708" y="1124"/>
                  </a:lnTo>
                  <a:lnTo>
                    <a:pt x="2735" y="1155"/>
                  </a:lnTo>
                  <a:lnTo>
                    <a:pt x="2761" y="1187"/>
                  </a:lnTo>
                  <a:lnTo>
                    <a:pt x="2786" y="1220"/>
                  </a:lnTo>
                  <a:lnTo>
                    <a:pt x="2811" y="1252"/>
                  </a:lnTo>
                  <a:lnTo>
                    <a:pt x="2835" y="1286"/>
                  </a:lnTo>
                  <a:lnTo>
                    <a:pt x="2635" y="1399"/>
                  </a:lnTo>
                  <a:lnTo>
                    <a:pt x="2636" y="1402"/>
                  </a:lnTo>
                  <a:lnTo>
                    <a:pt x="3306" y="1438"/>
                  </a:lnTo>
                  <a:lnTo>
                    <a:pt x="3626" y="847"/>
                  </a:lnTo>
                  <a:lnTo>
                    <a:pt x="3624" y="84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756" name="Group 17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158937" y="2233013"/>
            <a:ext cx="1104442" cy="1124077"/>
            <a:chOff x="8010734" y="1725146"/>
            <a:chExt cx="1243863" cy="1265976"/>
          </a:xfrm>
        </p:grpSpPr>
        <p:sp>
          <p:nvSpPr>
            <p:cNvPr id="1757" name="Freeform 7"/>
            <p:cNvSpPr>
              <a:spLocks noEditPoints="1"/>
            </p:cNvSpPr>
            <p:nvPr/>
          </p:nvSpPr>
          <p:spPr bwMode="auto">
            <a:xfrm rot="21246557">
              <a:off x="8010734" y="1725146"/>
              <a:ext cx="1243863" cy="1265976"/>
            </a:xfrm>
            <a:custGeom>
              <a:avLst/>
              <a:gdLst>
                <a:gd name="T0" fmla="*/ 1975 w 2250"/>
                <a:gd name="T1" fmla="*/ 1188 h 2291"/>
                <a:gd name="T2" fmla="*/ 1942 w 2250"/>
                <a:gd name="T3" fmla="*/ 1107 h 2291"/>
                <a:gd name="T4" fmla="*/ 1954 w 2250"/>
                <a:gd name="T5" fmla="*/ 959 h 2291"/>
                <a:gd name="T6" fmla="*/ 2202 w 2250"/>
                <a:gd name="T7" fmla="*/ 806 h 2291"/>
                <a:gd name="T8" fmla="*/ 2146 w 2250"/>
                <a:gd name="T9" fmla="*/ 632 h 2291"/>
                <a:gd name="T10" fmla="*/ 1979 w 2250"/>
                <a:gd name="T11" fmla="*/ 641 h 2291"/>
                <a:gd name="T12" fmla="*/ 1799 w 2250"/>
                <a:gd name="T13" fmla="*/ 673 h 2291"/>
                <a:gd name="T14" fmla="*/ 1695 w 2250"/>
                <a:gd name="T15" fmla="*/ 553 h 2291"/>
                <a:gd name="T16" fmla="*/ 1751 w 2250"/>
                <a:gd name="T17" fmla="*/ 374 h 2291"/>
                <a:gd name="T18" fmla="*/ 1723 w 2250"/>
                <a:gd name="T19" fmla="*/ 169 h 2291"/>
                <a:gd name="T20" fmla="*/ 1615 w 2250"/>
                <a:gd name="T21" fmla="*/ 132 h 2291"/>
                <a:gd name="T22" fmla="*/ 1430 w 2250"/>
                <a:gd name="T23" fmla="*/ 351 h 2291"/>
                <a:gd name="T24" fmla="*/ 1234 w 2250"/>
                <a:gd name="T25" fmla="*/ 326 h 2291"/>
                <a:gd name="T26" fmla="*/ 1182 w 2250"/>
                <a:gd name="T27" fmla="*/ 152 h 2291"/>
                <a:gd name="T28" fmla="*/ 1075 w 2250"/>
                <a:gd name="T29" fmla="*/ 0 h 2291"/>
                <a:gd name="T30" fmla="*/ 929 w 2250"/>
                <a:gd name="T31" fmla="*/ 37 h 2291"/>
                <a:gd name="T32" fmla="*/ 904 w 2250"/>
                <a:gd name="T33" fmla="*/ 334 h 2291"/>
                <a:gd name="T34" fmla="*/ 762 w 2250"/>
                <a:gd name="T35" fmla="*/ 407 h 2291"/>
                <a:gd name="T36" fmla="*/ 695 w 2250"/>
                <a:gd name="T37" fmla="*/ 407 h 2291"/>
                <a:gd name="T38" fmla="*/ 479 w 2250"/>
                <a:gd name="T39" fmla="*/ 219 h 2291"/>
                <a:gd name="T40" fmla="*/ 321 w 2250"/>
                <a:gd name="T41" fmla="*/ 334 h 2291"/>
                <a:gd name="T42" fmla="*/ 463 w 2250"/>
                <a:gd name="T43" fmla="*/ 595 h 2291"/>
                <a:gd name="T44" fmla="*/ 428 w 2250"/>
                <a:gd name="T45" fmla="*/ 713 h 2291"/>
                <a:gd name="T46" fmla="*/ 339 w 2250"/>
                <a:gd name="T47" fmla="*/ 797 h 2291"/>
                <a:gd name="T48" fmla="*/ 58 w 2250"/>
                <a:gd name="T49" fmla="*/ 777 h 2291"/>
                <a:gd name="T50" fmla="*/ 15 w 2250"/>
                <a:gd name="T51" fmla="*/ 985 h 2291"/>
                <a:gd name="T52" fmla="*/ 283 w 2250"/>
                <a:gd name="T53" fmla="*/ 1095 h 2291"/>
                <a:gd name="T54" fmla="*/ 309 w 2250"/>
                <a:gd name="T55" fmla="*/ 1188 h 2291"/>
                <a:gd name="T56" fmla="*/ 289 w 2250"/>
                <a:gd name="T57" fmla="*/ 1325 h 2291"/>
                <a:gd name="T58" fmla="*/ 45 w 2250"/>
                <a:gd name="T59" fmla="*/ 1481 h 2291"/>
                <a:gd name="T60" fmla="*/ 111 w 2250"/>
                <a:gd name="T61" fmla="*/ 1657 h 2291"/>
                <a:gd name="T62" fmla="*/ 320 w 2250"/>
                <a:gd name="T63" fmla="*/ 1626 h 2291"/>
                <a:gd name="T64" fmla="*/ 462 w 2250"/>
                <a:gd name="T65" fmla="*/ 1617 h 2291"/>
                <a:gd name="T66" fmla="*/ 562 w 2250"/>
                <a:gd name="T67" fmla="*/ 1741 h 2291"/>
                <a:gd name="T68" fmla="*/ 481 w 2250"/>
                <a:gd name="T69" fmla="*/ 1951 h 2291"/>
                <a:gd name="T70" fmla="*/ 577 w 2250"/>
                <a:gd name="T71" fmla="*/ 2139 h 2291"/>
                <a:gd name="T72" fmla="*/ 728 w 2250"/>
                <a:gd name="T73" fmla="*/ 2044 h 2291"/>
                <a:gd name="T74" fmla="*/ 852 w 2250"/>
                <a:gd name="T75" fmla="*/ 1914 h 2291"/>
                <a:gd name="T76" fmla="*/ 1035 w 2250"/>
                <a:gd name="T77" fmla="*/ 1973 h 2291"/>
                <a:gd name="T78" fmla="*/ 1092 w 2250"/>
                <a:gd name="T79" fmla="*/ 2219 h 2291"/>
                <a:gd name="T80" fmla="*/ 1208 w 2250"/>
                <a:gd name="T81" fmla="*/ 2278 h 2291"/>
                <a:gd name="T82" fmla="*/ 1321 w 2250"/>
                <a:gd name="T83" fmla="*/ 2243 h 2291"/>
                <a:gd name="T84" fmla="*/ 1343 w 2250"/>
                <a:gd name="T85" fmla="*/ 1953 h 2291"/>
                <a:gd name="T86" fmla="*/ 1488 w 2250"/>
                <a:gd name="T87" fmla="*/ 1873 h 2291"/>
                <a:gd name="T88" fmla="*/ 1559 w 2250"/>
                <a:gd name="T89" fmla="*/ 1879 h 2291"/>
                <a:gd name="T90" fmla="*/ 1784 w 2250"/>
                <a:gd name="T91" fmla="*/ 2062 h 2291"/>
                <a:gd name="T92" fmla="*/ 1923 w 2250"/>
                <a:gd name="T93" fmla="*/ 1954 h 2291"/>
                <a:gd name="T94" fmla="*/ 1837 w 2250"/>
                <a:gd name="T95" fmla="*/ 1756 h 2291"/>
                <a:gd name="T96" fmla="*/ 1784 w 2250"/>
                <a:gd name="T97" fmla="*/ 1624 h 2291"/>
                <a:gd name="T98" fmla="*/ 1895 w 2250"/>
                <a:gd name="T99" fmla="*/ 1482 h 2291"/>
                <a:gd name="T100" fmla="*/ 2185 w 2250"/>
                <a:gd name="T101" fmla="*/ 1506 h 2291"/>
                <a:gd name="T102" fmla="*/ 2242 w 2250"/>
                <a:gd name="T103" fmla="*/ 1300 h 2291"/>
                <a:gd name="T104" fmla="*/ 998 w 2250"/>
                <a:gd name="T105" fmla="*/ 1334 h 2291"/>
                <a:gd name="T106" fmla="*/ 898 w 2250"/>
                <a:gd name="T107" fmla="*/ 1145 h 2291"/>
                <a:gd name="T108" fmla="*/ 1016 w 2250"/>
                <a:gd name="T109" fmla="*/ 945 h 2291"/>
                <a:gd name="T110" fmla="*/ 1234 w 2250"/>
                <a:gd name="T111" fmla="*/ 945 h 2291"/>
                <a:gd name="T112" fmla="*/ 1352 w 2250"/>
                <a:gd name="T113" fmla="*/ 1145 h 2291"/>
                <a:gd name="T114" fmla="*/ 1253 w 2250"/>
                <a:gd name="T115" fmla="*/ 1334 h 2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50" h="2291">
                  <a:moveTo>
                    <a:pt x="2235" y="1294"/>
                  </a:moveTo>
                  <a:lnTo>
                    <a:pt x="2235" y="1294"/>
                  </a:lnTo>
                  <a:lnTo>
                    <a:pt x="2195" y="1275"/>
                  </a:lnTo>
                  <a:lnTo>
                    <a:pt x="2155" y="1257"/>
                  </a:lnTo>
                  <a:lnTo>
                    <a:pt x="2109" y="1238"/>
                  </a:lnTo>
                  <a:lnTo>
                    <a:pt x="2109" y="1238"/>
                  </a:lnTo>
                  <a:lnTo>
                    <a:pt x="2062" y="1219"/>
                  </a:lnTo>
                  <a:lnTo>
                    <a:pt x="2022" y="1204"/>
                  </a:lnTo>
                  <a:lnTo>
                    <a:pt x="1980" y="1191"/>
                  </a:lnTo>
                  <a:lnTo>
                    <a:pt x="1980" y="1191"/>
                  </a:lnTo>
                  <a:lnTo>
                    <a:pt x="1975" y="1188"/>
                  </a:lnTo>
                  <a:lnTo>
                    <a:pt x="1967" y="1183"/>
                  </a:lnTo>
                  <a:lnTo>
                    <a:pt x="1960" y="1179"/>
                  </a:lnTo>
                  <a:lnTo>
                    <a:pt x="1954" y="1173"/>
                  </a:lnTo>
                  <a:lnTo>
                    <a:pt x="1949" y="1167"/>
                  </a:lnTo>
                  <a:lnTo>
                    <a:pt x="1945" y="1160"/>
                  </a:lnTo>
                  <a:lnTo>
                    <a:pt x="1943" y="1152"/>
                  </a:lnTo>
                  <a:lnTo>
                    <a:pt x="1942" y="1144"/>
                  </a:lnTo>
                  <a:lnTo>
                    <a:pt x="1942" y="1121"/>
                  </a:lnTo>
                  <a:lnTo>
                    <a:pt x="1942" y="1121"/>
                  </a:lnTo>
                  <a:lnTo>
                    <a:pt x="1942" y="1107"/>
                  </a:lnTo>
                  <a:lnTo>
                    <a:pt x="1942" y="1107"/>
                  </a:lnTo>
                  <a:lnTo>
                    <a:pt x="1942" y="1092"/>
                  </a:lnTo>
                  <a:lnTo>
                    <a:pt x="1941" y="1077"/>
                  </a:lnTo>
                  <a:lnTo>
                    <a:pt x="1932" y="1007"/>
                  </a:lnTo>
                  <a:lnTo>
                    <a:pt x="1932" y="1007"/>
                  </a:lnTo>
                  <a:lnTo>
                    <a:pt x="1932" y="1000"/>
                  </a:lnTo>
                  <a:lnTo>
                    <a:pt x="1932" y="993"/>
                  </a:lnTo>
                  <a:lnTo>
                    <a:pt x="1935" y="985"/>
                  </a:lnTo>
                  <a:lnTo>
                    <a:pt x="1938" y="978"/>
                  </a:lnTo>
                  <a:lnTo>
                    <a:pt x="1942" y="970"/>
                  </a:lnTo>
                  <a:lnTo>
                    <a:pt x="1948" y="965"/>
                  </a:lnTo>
                  <a:lnTo>
                    <a:pt x="1954" y="959"/>
                  </a:lnTo>
                  <a:lnTo>
                    <a:pt x="1961" y="954"/>
                  </a:lnTo>
                  <a:lnTo>
                    <a:pt x="1961" y="954"/>
                  </a:lnTo>
                  <a:lnTo>
                    <a:pt x="2000" y="935"/>
                  </a:lnTo>
                  <a:lnTo>
                    <a:pt x="2038" y="914"/>
                  </a:lnTo>
                  <a:lnTo>
                    <a:pt x="2081" y="889"/>
                  </a:lnTo>
                  <a:lnTo>
                    <a:pt x="2081" y="889"/>
                  </a:lnTo>
                  <a:lnTo>
                    <a:pt x="2122" y="864"/>
                  </a:lnTo>
                  <a:lnTo>
                    <a:pt x="2161" y="837"/>
                  </a:lnTo>
                  <a:lnTo>
                    <a:pt x="2196" y="812"/>
                  </a:lnTo>
                  <a:lnTo>
                    <a:pt x="2196" y="812"/>
                  </a:lnTo>
                  <a:lnTo>
                    <a:pt x="2202" y="806"/>
                  </a:lnTo>
                  <a:lnTo>
                    <a:pt x="2205" y="797"/>
                  </a:lnTo>
                  <a:lnTo>
                    <a:pt x="2207" y="787"/>
                  </a:lnTo>
                  <a:lnTo>
                    <a:pt x="2205" y="777"/>
                  </a:lnTo>
                  <a:lnTo>
                    <a:pt x="2205" y="777"/>
                  </a:lnTo>
                  <a:lnTo>
                    <a:pt x="2198" y="753"/>
                  </a:lnTo>
                  <a:lnTo>
                    <a:pt x="2189" y="729"/>
                  </a:lnTo>
                  <a:lnTo>
                    <a:pt x="2179" y="704"/>
                  </a:lnTo>
                  <a:lnTo>
                    <a:pt x="2156" y="652"/>
                  </a:lnTo>
                  <a:lnTo>
                    <a:pt x="2156" y="652"/>
                  </a:lnTo>
                  <a:lnTo>
                    <a:pt x="2152" y="642"/>
                  </a:lnTo>
                  <a:lnTo>
                    <a:pt x="2146" y="632"/>
                  </a:lnTo>
                  <a:lnTo>
                    <a:pt x="2146" y="632"/>
                  </a:lnTo>
                  <a:lnTo>
                    <a:pt x="2139" y="623"/>
                  </a:lnTo>
                  <a:lnTo>
                    <a:pt x="2131" y="617"/>
                  </a:lnTo>
                  <a:lnTo>
                    <a:pt x="2121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071" y="620"/>
                  </a:lnTo>
                  <a:lnTo>
                    <a:pt x="2028" y="629"/>
                  </a:lnTo>
                  <a:lnTo>
                    <a:pt x="1979" y="641"/>
                  </a:lnTo>
                  <a:lnTo>
                    <a:pt x="1979" y="641"/>
                  </a:lnTo>
                  <a:lnTo>
                    <a:pt x="1930" y="652"/>
                  </a:lnTo>
                  <a:lnTo>
                    <a:pt x="1889" y="666"/>
                  </a:lnTo>
                  <a:lnTo>
                    <a:pt x="1847" y="679"/>
                  </a:lnTo>
                  <a:lnTo>
                    <a:pt x="1847" y="679"/>
                  </a:lnTo>
                  <a:lnTo>
                    <a:pt x="1838" y="681"/>
                  </a:lnTo>
                  <a:lnTo>
                    <a:pt x="1830" y="682"/>
                  </a:lnTo>
                  <a:lnTo>
                    <a:pt x="1821" y="682"/>
                  </a:lnTo>
                  <a:lnTo>
                    <a:pt x="1813" y="679"/>
                  </a:lnTo>
                  <a:lnTo>
                    <a:pt x="1806" y="676"/>
                  </a:lnTo>
                  <a:lnTo>
                    <a:pt x="1799" y="673"/>
                  </a:lnTo>
                  <a:lnTo>
                    <a:pt x="1793" y="667"/>
                  </a:lnTo>
                  <a:lnTo>
                    <a:pt x="1788" y="663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45" y="610"/>
                  </a:lnTo>
                  <a:lnTo>
                    <a:pt x="1710" y="568"/>
                  </a:lnTo>
                  <a:lnTo>
                    <a:pt x="1710" y="568"/>
                  </a:lnTo>
                  <a:lnTo>
                    <a:pt x="1699" y="559"/>
                  </a:lnTo>
                  <a:lnTo>
                    <a:pt x="1699" y="559"/>
                  </a:lnTo>
                  <a:lnTo>
                    <a:pt x="1695" y="553"/>
                  </a:lnTo>
                  <a:lnTo>
                    <a:pt x="1691" y="546"/>
                  </a:lnTo>
                  <a:lnTo>
                    <a:pt x="1689" y="539"/>
                  </a:lnTo>
                  <a:lnTo>
                    <a:pt x="1688" y="531"/>
                  </a:lnTo>
                  <a:lnTo>
                    <a:pt x="1688" y="522"/>
                  </a:lnTo>
                  <a:lnTo>
                    <a:pt x="1688" y="513"/>
                  </a:lnTo>
                  <a:lnTo>
                    <a:pt x="1691" y="506"/>
                  </a:lnTo>
                  <a:lnTo>
                    <a:pt x="1694" y="497"/>
                  </a:lnTo>
                  <a:lnTo>
                    <a:pt x="1694" y="497"/>
                  </a:lnTo>
                  <a:lnTo>
                    <a:pt x="1713" y="459"/>
                  </a:lnTo>
                  <a:lnTo>
                    <a:pt x="1731" y="420"/>
                  </a:lnTo>
                  <a:lnTo>
                    <a:pt x="1751" y="374"/>
                  </a:lnTo>
                  <a:lnTo>
                    <a:pt x="1751" y="374"/>
                  </a:lnTo>
                  <a:lnTo>
                    <a:pt x="1770" y="328"/>
                  </a:lnTo>
                  <a:lnTo>
                    <a:pt x="1785" y="287"/>
                  </a:lnTo>
                  <a:lnTo>
                    <a:pt x="1800" y="246"/>
                  </a:lnTo>
                  <a:lnTo>
                    <a:pt x="1800" y="246"/>
                  </a:lnTo>
                  <a:lnTo>
                    <a:pt x="1802" y="237"/>
                  </a:lnTo>
                  <a:lnTo>
                    <a:pt x="1799" y="228"/>
                  </a:lnTo>
                  <a:lnTo>
                    <a:pt x="1794" y="219"/>
                  </a:lnTo>
                  <a:lnTo>
                    <a:pt x="1791" y="215"/>
                  </a:lnTo>
                  <a:lnTo>
                    <a:pt x="1787" y="212"/>
                  </a:lnTo>
                  <a:lnTo>
                    <a:pt x="1723" y="169"/>
                  </a:lnTo>
                  <a:lnTo>
                    <a:pt x="1731" y="157"/>
                  </a:lnTo>
                  <a:lnTo>
                    <a:pt x="1722" y="167"/>
                  </a:lnTo>
                  <a:lnTo>
                    <a:pt x="1722" y="167"/>
                  </a:lnTo>
                  <a:lnTo>
                    <a:pt x="1697" y="152"/>
                  </a:lnTo>
                  <a:lnTo>
                    <a:pt x="1652" y="129"/>
                  </a:lnTo>
                  <a:lnTo>
                    <a:pt x="1652" y="129"/>
                  </a:lnTo>
                  <a:lnTo>
                    <a:pt x="1642" y="126"/>
                  </a:lnTo>
                  <a:lnTo>
                    <a:pt x="1631" y="124"/>
                  </a:lnTo>
                  <a:lnTo>
                    <a:pt x="1623" y="127"/>
                  </a:lnTo>
                  <a:lnTo>
                    <a:pt x="1618" y="129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578" y="170"/>
                  </a:lnTo>
                  <a:lnTo>
                    <a:pt x="1552" y="201"/>
                  </a:lnTo>
                  <a:lnTo>
                    <a:pt x="1522" y="234"/>
                  </a:lnTo>
                  <a:lnTo>
                    <a:pt x="1522" y="234"/>
                  </a:lnTo>
                  <a:lnTo>
                    <a:pt x="1491" y="274"/>
                  </a:lnTo>
                  <a:lnTo>
                    <a:pt x="1464" y="308"/>
                  </a:lnTo>
                  <a:lnTo>
                    <a:pt x="1439" y="342"/>
                  </a:lnTo>
                  <a:lnTo>
                    <a:pt x="1439" y="342"/>
                  </a:lnTo>
                  <a:lnTo>
                    <a:pt x="1430" y="351"/>
                  </a:lnTo>
                  <a:lnTo>
                    <a:pt x="1421" y="357"/>
                  </a:lnTo>
                  <a:lnTo>
                    <a:pt x="1411" y="362"/>
                  </a:lnTo>
                  <a:lnTo>
                    <a:pt x="1401" y="364"/>
                  </a:lnTo>
                  <a:lnTo>
                    <a:pt x="1401" y="364"/>
                  </a:lnTo>
                  <a:lnTo>
                    <a:pt x="1392" y="365"/>
                  </a:lnTo>
                  <a:lnTo>
                    <a:pt x="1383" y="364"/>
                  </a:lnTo>
                  <a:lnTo>
                    <a:pt x="1315" y="345"/>
                  </a:lnTo>
                  <a:lnTo>
                    <a:pt x="1248" y="331"/>
                  </a:lnTo>
                  <a:lnTo>
                    <a:pt x="1248" y="331"/>
                  </a:lnTo>
                  <a:lnTo>
                    <a:pt x="1241" y="328"/>
                  </a:lnTo>
                  <a:lnTo>
                    <a:pt x="1234" y="326"/>
                  </a:lnTo>
                  <a:lnTo>
                    <a:pt x="1226" y="321"/>
                  </a:lnTo>
                  <a:lnTo>
                    <a:pt x="1222" y="315"/>
                  </a:lnTo>
                  <a:lnTo>
                    <a:pt x="1216" y="309"/>
                  </a:lnTo>
                  <a:lnTo>
                    <a:pt x="1211" y="302"/>
                  </a:lnTo>
                  <a:lnTo>
                    <a:pt x="1208" y="294"/>
                  </a:lnTo>
                  <a:lnTo>
                    <a:pt x="1207" y="287"/>
                  </a:lnTo>
                  <a:lnTo>
                    <a:pt x="1207" y="287"/>
                  </a:lnTo>
                  <a:lnTo>
                    <a:pt x="1201" y="244"/>
                  </a:lnTo>
                  <a:lnTo>
                    <a:pt x="1192" y="201"/>
                  </a:lnTo>
                  <a:lnTo>
                    <a:pt x="1182" y="152"/>
                  </a:lnTo>
                  <a:lnTo>
                    <a:pt x="1182" y="152"/>
                  </a:lnTo>
                  <a:lnTo>
                    <a:pt x="1170" y="104"/>
                  </a:lnTo>
                  <a:lnTo>
                    <a:pt x="1158" y="61"/>
                  </a:lnTo>
                  <a:lnTo>
                    <a:pt x="1145" y="19"/>
                  </a:lnTo>
                  <a:lnTo>
                    <a:pt x="1145" y="19"/>
                  </a:lnTo>
                  <a:lnTo>
                    <a:pt x="1142" y="12"/>
                  </a:lnTo>
                  <a:lnTo>
                    <a:pt x="1135" y="6"/>
                  </a:lnTo>
                  <a:lnTo>
                    <a:pt x="1126" y="2"/>
                  </a:lnTo>
                  <a:lnTo>
                    <a:pt x="1114" y="0"/>
                  </a:lnTo>
                  <a:lnTo>
                    <a:pt x="1090" y="0"/>
                  </a:lnTo>
                  <a:lnTo>
                    <a:pt x="1090" y="0"/>
                  </a:lnTo>
                  <a:lnTo>
                    <a:pt x="1075" y="0"/>
                  </a:lnTo>
                  <a:lnTo>
                    <a:pt x="1075" y="0"/>
                  </a:lnTo>
                  <a:lnTo>
                    <a:pt x="1056" y="2"/>
                  </a:lnTo>
                  <a:lnTo>
                    <a:pt x="1037" y="3"/>
                  </a:lnTo>
                  <a:lnTo>
                    <a:pt x="956" y="12"/>
                  </a:lnTo>
                  <a:lnTo>
                    <a:pt x="956" y="12"/>
                  </a:lnTo>
                  <a:lnTo>
                    <a:pt x="951" y="13"/>
                  </a:lnTo>
                  <a:lnTo>
                    <a:pt x="947" y="15"/>
                  </a:lnTo>
                  <a:lnTo>
                    <a:pt x="938" y="21"/>
                  </a:lnTo>
                  <a:lnTo>
                    <a:pt x="932" y="28"/>
                  </a:lnTo>
                  <a:lnTo>
                    <a:pt x="929" y="37"/>
                  </a:lnTo>
                  <a:lnTo>
                    <a:pt x="929" y="37"/>
                  </a:lnTo>
                  <a:lnTo>
                    <a:pt x="923" y="80"/>
                  </a:lnTo>
                  <a:lnTo>
                    <a:pt x="919" y="124"/>
                  </a:lnTo>
                  <a:lnTo>
                    <a:pt x="914" y="173"/>
                  </a:lnTo>
                  <a:lnTo>
                    <a:pt x="914" y="173"/>
                  </a:lnTo>
                  <a:lnTo>
                    <a:pt x="911" y="229"/>
                  </a:lnTo>
                  <a:lnTo>
                    <a:pt x="910" y="266"/>
                  </a:lnTo>
                  <a:lnTo>
                    <a:pt x="910" y="309"/>
                  </a:lnTo>
                  <a:lnTo>
                    <a:pt x="910" y="309"/>
                  </a:lnTo>
                  <a:lnTo>
                    <a:pt x="910" y="318"/>
                  </a:lnTo>
                  <a:lnTo>
                    <a:pt x="907" y="327"/>
                  </a:lnTo>
                  <a:lnTo>
                    <a:pt x="904" y="334"/>
                  </a:lnTo>
                  <a:lnTo>
                    <a:pt x="901" y="342"/>
                  </a:lnTo>
                  <a:lnTo>
                    <a:pt x="895" y="349"/>
                  </a:lnTo>
                  <a:lnTo>
                    <a:pt x="890" y="354"/>
                  </a:lnTo>
                  <a:lnTo>
                    <a:pt x="883" y="358"/>
                  </a:lnTo>
                  <a:lnTo>
                    <a:pt x="877" y="361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12" y="385"/>
                  </a:lnTo>
                  <a:lnTo>
                    <a:pt x="762" y="407"/>
                  </a:lnTo>
                  <a:lnTo>
                    <a:pt x="762" y="407"/>
                  </a:lnTo>
                  <a:lnTo>
                    <a:pt x="751" y="413"/>
                  </a:lnTo>
                  <a:lnTo>
                    <a:pt x="751" y="413"/>
                  </a:lnTo>
                  <a:lnTo>
                    <a:pt x="744" y="416"/>
                  </a:lnTo>
                  <a:lnTo>
                    <a:pt x="738" y="417"/>
                  </a:lnTo>
                  <a:lnTo>
                    <a:pt x="731" y="419"/>
                  </a:lnTo>
                  <a:lnTo>
                    <a:pt x="723" y="417"/>
                  </a:lnTo>
                  <a:lnTo>
                    <a:pt x="716" y="416"/>
                  </a:lnTo>
                  <a:lnTo>
                    <a:pt x="710" y="414"/>
                  </a:lnTo>
                  <a:lnTo>
                    <a:pt x="703" y="411"/>
                  </a:lnTo>
                  <a:lnTo>
                    <a:pt x="697" y="407"/>
                  </a:lnTo>
                  <a:lnTo>
                    <a:pt x="695" y="407"/>
                  </a:lnTo>
                  <a:lnTo>
                    <a:pt x="689" y="401"/>
                  </a:lnTo>
                  <a:lnTo>
                    <a:pt x="689" y="401"/>
                  </a:lnTo>
                  <a:lnTo>
                    <a:pt x="651" y="362"/>
                  </a:lnTo>
                  <a:lnTo>
                    <a:pt x="623" y="336"/>
                  </a:lnTo>
                  <a:lnTo>
                    <a:pt x="590" y="308"/>
                  </a:lnTo>
                  <a:lnTo>
                    <a:pt x="590" y="308"/>
                  </a:lnTo>
                  <a:lnTo>
                    <a:pt x="553" y="275"/>
                  </a:lnTo>
                  <a:lnTo>
                    <a:pt x="518" y="249"/>
                  </a:lnTo>
                  <a:lnTo>
                    <a:pt x="484" y="222"/>
                  </a:lnTo>
                  <a:lnTo>
                    <a:pt x="484" y="222"/>
                  </a:lnTo>
                  <a:lnTo>
                    <a:pt x="479" y="219"/>
                  </a:lnTo>
                  <a:lnTo>
                    <a:pt x="475" y="218"/>
                  </a:lnTo>
                  <a:lnTo>
                    <a:pt x="466" y="218"/>
                  </a:lnTo>
                  <a:lnTo>
                    <a:pt x="456" y="219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17" y="247"/>
                  </a:lnTo>
                  <a:lnTo>
                    <a:pt x="388" y="271"/>
                  </a:lnTo>
                  <a:lnTo>
                    <a:pt x="355" y="297"/>
                  </a:lnTo>
                  <a:lnTo>
                    <a:pt x="327" y="327"/>
                  </a:lnTo>
                  <a:lnTo>
                    <a:pt x="327" y="327"/>
                  </a:lnTo>
                  <a:lnTo>
                    <a:pt x="321" y="334"/>
                  </a:lnTo>
                  <a:lnTo>
                    <a:pt x="317" y="345"/>
                  </a:lnTo>
                  <a:lnTo>
                    <a:pt x="317" y="355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39" y="401"/>
                  </a:lnTo>
                  <a:lnTo>
                    <a:pt x="361" y="439"/>
                  </a:lnTo>
                  <a:lnTo>
                    <a:pt x="386" y="482"/>
                  </a:lnTo>
                  <a:lnTo>
                    <a:pt x="386" y="482"/>
                  </a:lnTo>
                  <a:lnTo>
                    <a:pt x="414" y="524"/>
                  </a:lnTo>
                  <a:lnTo>
                    <a:pt x="438" y="561"/>
                  </a:lnTo>
                  <a:lnTo>
                    <a:pt x="463" y="595"/>
                  </a:lnTo>
                  <a:lnTo>
                    <a:pt x="463" y="595"/>
                  </a:lnTo>
                  <a:lnTo>
                    <a:pt x="467" y="602"/>
                  </a:lnTo>
                  <a:lnTo>
                    <a:pt x="470" y="610"/>
                  </a:lnTo>
                  <a:lnTo>
                    <a:pt x="473" y="618"/>
                  </a:lnTo>
                  <a:lnTo>
                    <a:pt x="473" y="626"/>
                  </a:lnTo>
                  <a:lnTo>
                    <a:pt x="473" y="635"/>
                  </a:lnTo>
                  <a:lnTo>
                    <a:pt x="472" y="642"/>
                  </a:lnTo>
                  <a:lnTo>
                    <a:pt x="469" y="649"/>
                  </a:lnTo>
                  <a:lnTo>
                    <a:pt x="466" y="655"/>
                  </a:lnTo>
                  <a:lnTo>
                    <a:pt x="428" y="713"/>
                  </a:lnTo>
                  <a:lnTo>
                    <a:pt x="428" y="713"/>
                  </a:lnTo>
                  <a:lnTo>
                    <a:pt x="405" y="753"/>
                  </a:lnTo>
                  <a:lnTo>
                    <a:pt x="395" y="772"/>
                  </a:lnTo>
                  <a:lnTo>
                    <a:pt x="395" y="772"/>
                  </a:lnTo>
                  <a:lnTo>
                    <a:pt x="391" y="778"/>
                  </a:lnTo>
                  <a:lnTo>
                    <a:pt x="385" y="784"/>
                  </a:lnTo>
                  <a:lnTo>
                    <a:pt x="379" y="789"/>
                  </a:lnTo>
                  <a:lnTo>
                    <a:pt x="371" y="793"/>
                  </a:lnTo>
                  <a:lnTo>
                    <a:pt x="364" y="796"/>
                  </a:lnTo>
                  <a:lnTo>
                    <a:pt x="355" y="797"/>
                  </a:lnTo>
                  <a:lnTo>
                    <a:pt x="348" y="797"/>
                  </a:lnTo>
                  <a:lnTo>
                    <a:pt x="339" y="797"/>
                  </a:lnTo>
                  <a:lnTo>
                    <a:pt x="339" y="797"/>
                  </a:lnTo>
                  <a:lnTo>
                    <a:pt x="297" y="791"/>
                  </a:lnTo>
                  <a:lnTo>
                    <a:pt x="255" y="786"/>
                  </a:lnTo>
                  <a:lnTo>
                    <a:pt x="204" y="781"/>
                  </a:lnTo>
                  <a:lnTo>
                    <a:pt x="204" y="781"/>
                  </a:lnTo>
                  <a:lnTo>
                    <a:pt x="154" y="777"/>
                  </a:lnTo>
                  <a:lnTo>
                    <a:pt x="110" y="775"/>
                  </a:lnTo>
                  <a:lnTo>
                    <a:pt x="65" y="774"/>
                  </a:lnTo>
                  <a:lnTo>
                    <a:pt x="65" y="774"/>
                  </a:lnTo>
                  <a:lnTo>
                    <a:pt x="61" y="775"/>
                  </a:lnTo>
                  <a:lnTo>
                    <a:pt x="58" y="777"/>
                  </a:lnTo>
                  <a:lnTo>
                    <a:pt x="49" y="781"/>
                  </a:lnTo>
                  <a:lnTo>
                    <a:pt x="43" y="789"/>
                  </a:lnTo>
                  <a:lnTo>
                    <a:pt x="39" y="797"/>
                  </a:lnTo>
                  <a:lnTo>
                    <a:pt x="16" y="874"/>
                  </a:lnTo>
                  <a:lnTo>
                    <a:pt x="2" y="951"/>
                  </a:lnTo>
                  <a:lnTo>
                    <a:pt x="2" y="951"/>
                  </a:lnTo>
                  <a:lnTo>
                    <a:pt x="0" y="962"/>
                  </a:lnTo>
                  <a:lnTo>
                    <a:pt x="3" y="972"/>
                  </a:lnTo>
                  <a:lnTo>
                    <a:pt x="9" y="979"/>
                  </a:lnTo>
                  <a:lnTo>
                    <a:pt x="12" y="982"/>
                  </a:lnTo>
                  <a:lnTo>
                    <a:pt x="15" y="985"/>
                  </a:lnTo>
                  <a:lnTo>
                    <a:pt x="15" y="985"/>
                  </a:lnTo>
                  <a:lnTo>
                    <a:pt x="55" y="1004"/>
                  </a:lnTo>
                  <a:lnTo>
                    <a:pt x="95" y="1022"/>
                  </a:lnTo>
                  <a:lnTo>
                    <a:pt x="142" y="1041"/>
                  </a:lnTo>
                  <a:lnTo>
                    <a:pt x="142" y="1041"/>
                  </a:lnTo>
                  <a:lnTo>
                    <a:pt x="188" y="1061"/>
                  </a:lnTo>
                  <a:lnTo>
                    <a:pt x="229" y="1075"/>
                  </a:lnTo>
                  <a:lnTo>
                    <a:pt x="269" y="1089"/>
                  </a:lnTo>
                  <a:lnTo>
                    <a:pt x="269" y="1089"/>
                  </a:lnTo>
                  <a:lnTo>
                    <a:pt x="277" y="1092"/>
                  </a:lnTo>
                  <a:lnTo>
                    <a:pt x="283" y="1095"/>
                  </a:lnTo>
                  <a:lnTo>
                    <a:pt x="290" y="1101"/>
                  </a:lnTo>
                  <a:lnTo>
                    <a:pt x="296" y="1107"/>
                  </a:lnTo>
                  <a:lnTo>
                    <a:pt x="300" y="1112"/>
                  </a:lnTo>
                  <a:lnTo>
                    <a:pt x="305" y="1120"/>
                  </a:lnTo>
                  <a:lnTo>
                    <a:pt x="308" y="1127"/>
                  </a:lnTo>
                  <a:lnTo>
                    <a:pt x="308" y="1136"/>
                  </a:lnTo>
                  <a:lnTo>
                    <a:pt x="308" y="1157"/>
                  </a:lnTo>
                  <a:lnTo>
                    <a:pt x="308" y="1157"/>
                  </a:lnTo>
                  <a:lnTo>
                    <a:pt x="309" y="1173"/>
                  </a:lnTo>
                  <a:lnTo>
                    <a:pt x="309" y="1173"/>
                  </a:lnTo>
                  <a:lnTo>
                    <a:pt x="309" y="1188"/>
                  </a:lnTo>
                  <a:lnTo>
                    <a:pt x="309" y="1203"/>
                  </a:lnTo>
                  <a:lnTo>
                    <a:pt x="318" y="1272"/>
                  </a:lnTo>
                  <a:lnTo>
                    <a:pt x="318" y="1272"/>
                  </a:lnTo>
                  <a:lnTo>
                    <a:pt x="318" y="1280"/>
                  </a:lnTo>
                  <a:lnTo>
                    <a:pt x="318" y="1287"/>
                  </a:lnTo>
                  <a:lnTo>
                    <a:pt x="317" y="1294"/>
                  </a:lnTo>
                  <a:lnTo>
                    <a:pt x="312" y="1302"/>
                  </a:lnTo>
                  <a:lnTo>
                    <a:pt x="308" y="1308"/>
                  </a:lnTo>
                  <a:lnTo>
                    <a:pt x="302" y="1315"/>
                  </a:lnTo>
                  <a:lnTo>
                    <a:pt x="296" y="1320"/>
                  </a:lnTo>
                  <a:lnTo>
                    <a:pt x="289" y="1325"/>
                  </a:lnTo>
                  <a:lnTo>
                    <a:pt x="289" y="1325"/>
                  </a:lnTo>
                  <a:lnTo>
                    <a:pt x="250" y="1345"/>
                  </a:lnTo>
                  <a:lnTo>
                    <a:pt x="212" y="1365"/>
                  </a:lnTo>
                  <a:lnTo>
                    <a:pt x="169" y="1391"/>
                  </a:lnTo>
                  <a:lnTo>
                    <a:pt x="169" y="1391"/>
                  </a:lnTo>
                  <a:lnTo>
                    <a:pt x="127" y="1416"/>
                  </a:lnTo>
                  <a:lnTo>
                    <a:pt x="89" y="1442"/>
                  </a:lnTo>
                  <a:lnTo>
                    <a:pt x="53" y="1466"/>
                  </a:lnTo>
                  <a:lnTo>
                    <a:pt x="53" y="1466"/>
                  </a:lnTo>
                  <a:lnTo>
                    <a:pt x="47" y="1473"/>
                  </a:lnTo>
                  <a:lnTo>
                    <a:pt x="45" y="1481"/>
                  </a:lnTo>
                  <a:lnTo>
                    <a:pt x="43" y="1493"/>
                  </a:lnTo>
                  <a:lnTo>
                    <a:pt x="45" y="1503"/>
                  </a:lnTo>
                  <a:lnTo>
                    <a:pt x="56" y="1538"/>
                  </a:lnTo>
                  <a:lnTo>
                    <a:pt x="71" y="1572"/>
                  </a:lnTo>
                  <a:lnTo>
                    <a:pt x="58" y="1578"/>
                  </a:lnTo>
                  <a:lnTo>
                    <a:pt x="71" y="1572"/>
                  </a:lnTo>
                  <a:lnTo>
                    <a:pt x="71" y="1572"/>
                  </a:lnTo>
                  <a:lnTo>
                    <a:pt x="98" y="1636"/>
                  </a:lnTo>
                  <a:lnTo>
                    <a:pt x="105" y="1648"/>
                  </a:lnTo>
                  <a:lnTo>
                    <a:pt x="105" y="1648"/>
                  </a:lnTo>
                  <a:lnTo>
                    <a:pt x="111" y="1657"/>
                  </a:lnTo>
                  <a:lnTo>
                    <a:pt x="120" y="1663"/>
                  </a:lnTo>
                  <a:lnTo>
                    <a:pt x="129" y="1666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81" y="1658"/>
                  </a:lnTo>
                  <a:lnTo>
                    <a:pt x="223" y="1651"/>
                  </a:lnTo>
                  <a:lnTo>
                    <a:pt x="271" y="1639"/>
                  </a:lnTo>
                  <a:lnTo>
                    <a:pt x="271" y="1639"/>
                  </a:lnTo>
                  <a:lnTo>
                    <a:pt x="320" y="1626"/>
                  </a:lnTo>
                  <a:lnTo>
                    <a:pt x="361" y="1614"/>
                  </a:lnTo>
                  <a:lnTo>
                    <a:pt x="402" y="1601"/>
                  </a:lnTo>
                  <a:lnTo>
                    <a:pt x="402" y="1601"/>
                  </a:lnTo>
                  <a:lnTo>
                    <a:pt x="411" y="1599"/>
                  </a:lnTo>
                  <a:lnTo>
                    <a:pt x="420" y="1598"/>
                  </a:lnTo>
                  <a:lnTo>
                    <a:pt x="429" y="1598"/>
                  </a:lnTo>
                  <a:lnTo>
                    <a:pt x="436" y="1601"/>
                  </a:lnTo>
                  <a:lnTo>
                    <a:pt x="444" y="1602"/>
                  </a:lnTo>
                  <a:lnTo>
                    <a:pt x="451" y="1606"/>
                  </a:lnTo>
                  <a:lnTo>
                    <a:pt x="457" y="1611"/>
                  </a:lnTo>
                  <a:lnTo>
                    <a:pt x="462" y="1617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504" y="1670"/>
                  </a:lnTo>
                  <a:lnTo>
                    <a:pt x="540" y="1712"/>
                  </a:lnTo>
                  <a:lnTo>
                    <a:pt x="541" y="1710"/>
                  </a:lnTo>
                  <a:lnTo>
                    <a:pt x="550" y="1720"/>
                  </a:lnTo>
                  <a:lnTo>
                    <a:pt x="550" y="1720"/>
                  </a:lnTo>
                  <a:lnTo>
                    <a:pt x="555" y="1726"/>
                  </a:lnTo>
                  <a:lnTo>
                    <a:pt x="559" y="1734"/>
                  </a:lnTo>
                  <a:lnTo>
                    <a:pt x="562" y="1741"/>
                  </a:lnTo>
                  <a:lnTo>
                    <a:pt x="564" y="1749"/>
                  </a:lnTo>
                  <a:lnTo>
                    <a:pt x="564" y="1757"/>
                  </a:lnTo>
                  <a:lnTo>
                    <a:pt x="562" y="1766"/>
                  </a:lnTo>
                  <a:lnTo>
                    <a:pt x="561" y="1774"/>
                  </a:lnTo>
                  <a:lnTo>
                    <a:pt x="556" y="1783"/>
                  </a:lnTo>
                  <a:lnTo>
                    <a:pt x="556" y="1783"/>
                  </a:lnTo>
                  <a:lnTo>
                    <a:pt x="537" y="1821"/>
                  </a:lnTo>
                  <a:lnTo>
                    <a:pt x="519" y="1859"/>
                  </a:lnTo>
                  <a:lnTo>
                    <a:pt x="499" y="1905"/>
                  </a:lnTo>
                  <a:lnTo>
                    <a:pt x="499" y="1905"/>
                  </a:lnTo>
                  <a:lnTo>
                    <a:pt x="481" y="1951"/>
                  </a:lnTo>
                  <a:lnTo>
                    <a:pt x="465" y="1993"/>
                  </a:lnTo>
                  <a:lnTo>
                    <a:pt x="450" y="2034"/>
                  </a:lnTo>
                  <a:lnTo>
                    <a:pt x="450" y="2034"/>
                  </a:lnTo>
                  <a:lnTo>
                    <a:pt x="448" y="2043"/>
                  </a:lnTo>
                  <a:lnTo>
                    <a:pt x="451" y="2052"/>
                  </a:lnTo>
                  <a:lnTo>
                    <a:pt x="456" y="2061"/>
                  </a:lnTo>
                  <a:lnTo>
                    <a:pt x="459" y="2065"/>
                  </a:lnTo>
                  <a:lnTo>
                    <a:pt x="463" y="2068"/>
                  </a:lnTo>
                  <a:lnTo>
                    <a:pt x="530" y="2112"/>
                  </a:lnTo>
                  <a:lnTo>
                    <a:pt x="530" y="2112"/>
                  </a:lnTo>
                  <a:lnTo>
                    <a:pt x="577" y="2139"/>
                  </a:lnTo>
                  <a:lnTo>
                    <a:pt x="599" y="2151"/>
                  </a:lnTo>
                  <a:lnTo>
                    <a:pt x="599" y="2151"/>
                  </a:lnTo>
                  <a:lnTo>
                    <a:pt x="608" y="2154"/>
                  </a:lnTo>
                  <a:lnTo>
                    <a:pt x="618" y="2155"/>
                  </a:lnTo>
                  <a:lnTo>
                    <a:pt x="627" y="2152"/>
                  </a:lnTo>
                  <a:lnTo>
                    <a:pt x="632" y="2151"/>
                  </a:lnTo>
                  <a:lnTo>
                    <a:pt x="635" y="2148"/>
                  </a:lnTo>
                  <a:lnTo>
                    <a:pt x="635" y="2148"/>
                  </a:lnTo>
                  <a:lnTo>
                    <a:pt x="666" y="2115"/>
                  </a:lnTo>
                  <a:lnTo>
                    <a:pt x="695" y="2083"/>
                  </a:lnTo>
                  <a:lnTo>
                    <a:pt x="728" y="2044"/>
                  </a:lnTo>
                  <a:lnTo>
                    <a:pt x="728" y="2044"/>
                  </a:lnTo>
                  <a:lnTo>
                    <a:pt x="760" y="2006"/>
                  </a:lnTo>
                  <a:lnTo>
                    <a:pt x="785" y="1972"/>
                  </a:lnTo>
                  <a:lnTo>
                    <a:pt x="812" y="1938"/>
                  </a:lnTo>
                  <a:lnTo>
                    <a:pt x="812" y="1938"/>
                  </a:lnTo>
                  <a:lnTo>
                    <a:pt x="817" y="1932"/>
                  </a:lnTo>
                  <a:lnTo>
                    <a:pt x="822" y="1926"/>
                  </a:lnTo>
                  <a:lnTo>
                    <a:pt x="830" y="1922"/>
                  </a:lnTo>
                  <a:lnTo>
                    <a:pt x="837" y="1919"/>
                  </a:lnTo>
                  <a:lnTo>
                    <a:pt x="845" y="1916"/>
                  </a:lnTo>
                  <a:lnTo>
                    <a:pt x="852" y="1914"/>
                  </a:lnTo>
                  <a:lnTo>
                    <a:pt x="861" y="1914"/>
                  </a:lnTo>
                  <a:lnTo>
                    <a:pt x="868" y="1916"/>
                  </a:lnTo>
                  <a:lnTo>
                    <a:pt x="935" y="1935"/>
                  </a:lnTo>
                  <a:lnTo>
                    <a:pt x="1001" y="1948"/>
                  </a:lnTo>
                  <a:lnTo>
                    <a:pt x="1001" y="1948"/>
                  </a:lnTo>
                  <a:lnTo>
                    <a:pt x="1009" y="1950"/>
                  </a:lnTo>
                  <a:lnTo>
                    <a:pt x="1016" y="1953"/>
                  </a:lnTo>
                  <a:lnTo>
                    <a:pt x="1022" y="1957"/>
                  </a:lnTo>
                  <a:lnTo>
                    <a:pt x="1027" y="1962"/>
                  </a:lnTo>
                  <a:lnTo>
                    <a:pt x="1032" y="1967"/>
                  </a:lnTo>
                  <a:lnTo>
                    <a:pt x="1035" y="1973"/>
                  </a:lnTo>
                  <a:lnTo>
                    <a:pt x="1038" y="1979"/>
                  </a:lnTo>
                  <a:lnTo>
                    <a:pt x="1041" y="1987"/>
                  </a:lnTo>
                  <a:lnTo>
                    <a:pt x="1041" y="1987"/>
                  </a:lnTo>
                  <a:lnTo>
                    <a:pt x="1043" y="1994"/>
                  </a:lnTo>
                  <a:lnTo>
                    <a:pt x="1043" y="1994"/>
                  </a:lnTo>
                  <a:lnTo>
                    <a:pt x="1052" y="2047"/>
                  </a:lnTo>
                  <a:lnTo>
                    <a:pt x="1059" y="2086"/>
                  </a:lnTo>
                  <a:lnTo>
                    <a:pt x="1068" y="2127"/>
                  </a:lnTo>
                  <a:lnTo>
                    <a:pt x="1068" y="2127"/>
                  </a:lnTo>
                  <a:lnTo>
                    <a:pt x="1080" y="2176"/>
                  </a:lnTo>
                  <a:lnTo>
                    <a:pt x="1092" y="2219"/>
                  </a:lnTo>
                  <a:lnTo>
                    <a:pt x="1105" y="2260"/>
                  </a:lnTo>
                  <a:lnTo>
                    <a:pt x="1105" y="2260"/>
                  </a:lnTo>
                  <a:lnTo>
                    <a:pt x="1108" y="2268"/>
                  </a:lnTo>
                  <a:lnTo>
                    <a:pt x="1115" y="2274"/>
                  </a:lnTo>
                  <a:lnTo>
                    <a:pt x="1126" y="2278"/>
                  </a:lnTo>
                  <a:lnTo>
                    <a:pt x="1136" y="2280"/>
                  </a:lnTo>
                  <a:lnTo>
                    <a:pt x="1148" y="2280"/>
                  </a:lnTo>
                  <a:lnTo>
                    <a:pt x="1148" y="2280"/>
                  </a:lnTo>
                  <a:lnTo>
                    <a:pt x="1183" y="2280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11" y="2291"/>
                  </a:lnTo>
                  <a:lnTo>
                    <a:pt x="1211" y="2291"/>
                  </a:lnTo>
                  <a:lnTo>
                    <a:pt x="1210" y="2277"/>
                  </a:lnTo>
                  <a:lnTo>
                    <a:pt x="1294" y="2268"/>
                  </a:lnTo>
                  <a:lnTo>
                    <a:pt x="1294" y="2268"/>
                  </a:lnTo>
                  <a:lnTo>
                    <a:pt x="1299" y="2266"/>
                  </a:lnTo>
                  <a:lnTo>
                    <a:pt x="1303" y="2265"/>
                  </a:lnTo>
                  <a:lnTo>
                    <a:pt x="1312" y="2259"/>
                  </a:lnTo>
                  <a:lnTo>
                    <a:pt x="1318" y="2251"/>
                  </a:lnTo>
                  <a:lnTo>
                    <a:pt x="1321" y="2243"/>
                  </a:lnTo>
                  <a:lnTo>
                    <a:pt x="1321" y="2243"/>
                  </a:lnTo>
                  <a:lnTo>
                    <a:pt x="1327" y="2200"/>
                  </a:lnTo>
                  <a:lnTo>
                    <a:pt x="1331" y="2155"/>
                  </a:lnTo>
                  <a:lnTo>
                    <a:pt x="1336" y="2105"/>
                  </a:lnTo>
                  <a:lnTo>
                    <a:pt x="1336" y="2105"/>
                  </a:lnTo>
                  <a:lnTo>
                    <a:pt x="1339" y="2059"/>
                  </a:lnTo>
                  <a:lnTo>
                    <a:pt x="1340" y="2013"/>
                  </a:lnTo>
                  <a:lnTo>
                    <a:pt x="1340" y="1970"/>
                  </a:lnTo>
                  <a:lnTo>
                    <a:pt x="1340" y="1970"/>
                  </a:lnTo>
                  <a:lnTo>
                    <a:pt x="1342" y="1962"/>
                  </a:lnTo>
                  <a:lnTo>
                    <a:pt x="1343" y="1953"/>
                  </a:lnTo>
                  <a:lnTo>
                    <a:pt x="1346" y="1945"/>
                  </a:lnTo>
                  <a:lnTo>
                    <a:pt x="1350" y="1938"/>
                  </a:lnTo>
                  <a:lnTo>
                    <a:pt x="1355" y="1930"/>
                  </a:lnTo>
                  <a:lnTo>
                    <a:pt x="1361" y="1926"/>
                  </a:lnTo>
                  <a:lnTo>
                    <a:pt x="1367" y="1922"/>
                  </a:lnTo>
                  <a:lnTo>
                    <a:pt x="1374" y="1919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438" y="1893"/>
                  </a:lnTo>
                  <a:lnTo>
                    <a:pt x="1488" y="1873"/>
                  </a:lnTo>
                  <a:lnTo>
                    <a:pt x="1488" y="1873"/>
                  </a:lnTo>
                  <a:lnTo>
                    <a:pt x="1500" y="1865"/>
                  </a:lnTo>
                  <a:lnTo>
                    <a:pt x="1500" y="1865"/>
                  </a:lnTo>
                  <a:lnTo>
                    <a:pt x="1506" y="1864"/>
                  </a:lnTo>
                  <a:lnTo>
                    <a:pt x="1513" y="1861"/>
                  </a:lnTo>
                  <a:lnTo>
                    <a:pt x="1522" y="1861"/>
                  </a:lnTo>
                  <a:lnTo>
                    <a:pt x="1529" y="1862"/>
                  </a:lnTo>
                  <a:lnTo>
                    <a:pt x="1538" y="1864"/>
                  </a:lnTo>
                  <a:lnTo>
                    <a:pt x="1546" y="1868"/>
                  </a:lnTo>
                  <a:lnTo>
                    <a:pt x="1553" y="1873"/>
                  </a:lnTo>
                  <a:lnTo>
                    <a:pt x="1559" y="1879"/>
                  </a:lnTo>
                  <a:lnTo>
                    <a:pt x="1559" y="1879"/>
                  </a:lnTo>
                  <a:lnTo>
                    <a:pt x="1590" y="1908"/>
                  </a:lnTo>
                  <a:lnTo>
                    <a:pt x="1623" y="1939"/>
                  </a:lnTo>
                  <a:lnTo>
                    <a:pt x="1660" y="1972"/>
                  </a:lnTo>
                  <a:lnTo>
                    <a:pt x="1660" y="1972"/>
                  </a:lnTo>
                  <a:lnTo>
                    <a:pt x="1698" y="2004"/>
                  </a:lnTo>
                  <a:lnTo>
                    <a:pt x="1732" y="2031"/>
                  </a:lnTo>
                  <a:lnTo>
                    <a:pt x="1766" y="2058"/>
                  </a:lnTo>
                  <a:lnTo>
                    <a:pt x="1766" y="2058"/>
                  </a:lnTo>
                  <a:lnTo>
                    <a:pt x="1775" y="2061"/>
                  </a:lnTo>
                  <a:lnTo>
                    <a:pt x="1784" y="2062"/>
                  </a:lnTo>
                  <a:lnTo>
                    <a:pt x="1794" y="2061"/>
                  </a:lnTo>
                  <a:lnTo>
                    <a:pt x="1800" y="2059"/>
                  </a:lnTo>
                  <a:lnTo>
                    <a:pt x="1804" y="2056"/>
                  </a:lnTo>
                  <a:lnTo>
                    <a:pt x="1804" y="2056"/>
                  </a:lnTo>
                  <a:lnTo>
                    <a:pt x="1824" y="2041"/>
                  </a:lnTo>
                  <a:lnTo>
                    <a:pt x="1865" y="2006"/>
                  </a:lnTo>
                  <a:lnTo>
                    <a:pt x="1865" y="2006"/>
                  </a:lnTo>
                  <a:lnTo>
                    <a:pt x="1887" y="1988"/>
                  </a:lnTo>
                  <a:lnTo>
                    <a:pt x="1905" y="1970"/>
                  </a:lnTo>
                  <a:lnTo>
                    <a:pt x="1923" y="1954"/>
                  </a:lnTo>
                  <a:lnTo>
                    <a:pt x="1923" y="1954"/>
                  </a:lnTo>
                  <a:lnTo>
                    <a:pt x="1927" y="1950"/>
                  </a:lnTo>
                  <a:lnTo>
                    <a:pt x="1930" y="1945"/>
                  </a:lnTo>
                  <a:lnTo>
                    <a:pt x="1933" y="1935"/>
                  </a:lnTo>
                  <a:lnTo>
                    <a:pt x="1933" y="1925"/>
                  </a:lnTo>
                  <a:lnTo>
                    <a:pt x="1932" y="1917"/>
                  </a:lnTo>
                  <a:lnTo>
                    <a:pt x="1932" y="1917"/>
                  </a:lnTo>
                  <a:lnTo>
                    <a:pt x="1911" y="1879"/>
                  </a:lnTo>
                  <a:lnTo>
                    <a:pt x="1890" y="1840"/>
                  </a:lnTo>
                  <a:lnTo>
                    <a:pt x="1864" y="1797"/>
                  </a:lnTo>
                  <a:lnTo>
                    <a:pt x="1864" y="1797"/>
                  </a:lnTo>
                  <a:lnTo>
                    <a:pt x="1837" y="1756"/>
                  </a:lnTo>
                  <a:lnTo>
                    <a:pt x="1812" y="1719"/>
                  </a:lnTo>
                  <a:lnTo>
                    <a:pt x="1787" y="1685"/>
                  </a:lnTo>
                  <a:lnTo>
                    <a:pt x="1787" y="1685"/>
                  </a:lnTo>
                  <a:lnTo>
                    <a:pt x="1782" y="1677"/>
                  </a:lnTo>
                  <a:lnTo>
                    <a:pt x="1779" y="1670"/>
                  </a:lnTo>
                  <a:lnTo>
                    <a:pt x="1776" y="1661"/>
                  </a:lnTo>
                  <a:lnTo>
                    <a:pt x="1776" y="1654"/>
                  </a:lnTo>
                  <a:lnTo>
                    <a:pt x="1776" y="1645"/>
                  </a:lnTo>
                  <a:lnTo>
                    <a:pt x="1778" y="1638"/>
                  </a:lnTo>
                  <a:lnTo>
                    <a:pt x="1781" y="1630"/>
                  </a:lnTo>
                  <a:lnTo>
                    <a:pt x="1784" y="1624"/>
                  </a:lnTo>
                  <a:lnTo>
                    <a:pt x="1822" y="1567"/>
                  </a:lnTo>
                  <a:lnTo>
                    <a:pt x="1822" y="1567"/>
                  </a:lnTo>
                  <a:lnTo>
                    <a:pt x="1844" y="1527"/>
                  </a:lnTo>
                  <a:lnTo>
                    <a:pt x="1855" y="1507"/>
                  </a:lnTo>
                  <a:lnTo>
                    <a:pt x="1855" y="1507"/>
                  </a:lnTo>
                  <a:lnTo>
                    <a:pt x="1859" y="1501"/>
                  </a:lnTo>
                  <a:lnTo>
                    <a:pt x="1865" y="1496"/>
                  </a:lnTo>
                  <a:lnTo>
                    <a:pt x="1871" y="1491"/>
                  </a:lnTo>
                  <a:lnTo>
                    <a:pt x="1878" y="1487"/>
                  </a:lnTo>
                  <a:lnTo>
                    <a:pt x="1886" y="1484"/>
                  </a:lnTo>
                  <a:lnTo>
                    <a:pt x="1895" y="1482"/>
                  </a:lnTo>
                  <a:lnTo>
                    <a:pt x="1902" y="1481"/>
                  </a:lnTo>
                  <a:lnTo>
                    <a:pt x="1911" y="1482"/>
                  </a:lnTo>
                  <a:lnTo>
                    <a:pt x="1911" y="1482"/>
                  </a:lnTo>
                  <a:lnTo>
                    <a:pt x="1954" y="1488"/>
                  </a:lnTo>
                  <a:lnTo>
                    <a:pt x="1997" y="1494"/>
                  </a:lnTo>
                  <a:lnTo>
                    <a:pt x="2046" y="1499"/>
                  </a:lnTo>
                  <a:lnTo>
                    <a:pt x="2046" y="1499"/>
                  </a:lnTo>
                  <a:lnTo>
                    <a:pt x="2096" y="1503"/>
                  </a:lnTo>
                  <a:lnTo>
                    <a:pt x="2140" y="1504"/>
                  </a:lnTo>
                  <a:lnTo>
                    <a:pt x="2185" y="1506"/>
                  </a:lnTo>
                  <a:lnTo>
                    <a:pt x="2185" y="1506"/>
                  </a:lnTo>
                  <a:lnTo>
                    <a:pt x="2189" y="1504"/>
                  </a:lnTo>
                  <a:lnTo>
                    <a:pt x="2193" y="1503"/>
                  </a:lnTo>
                  <a:lnTo>
                    <a:pt x="2201" y="1499"/>
                  </a:lnTo>
                  <a:lnTo>
                    <a:pt x="2208" y="1491"/>
                  </a:lnTo>
                  <a:lnTo>
                    <a:pt x="2213" y="1482"/>
                  </a:lnTo>
                  <a:lnTo>
                    <a:pt x="2233" y="1410"/>
                  </a:lnTo>
                  <a:lnTo>
                    <a:pt x="2250" y="1328"/>
                  </a:lnTo>
                  <a:lnTo>
                    <a:pt x="2250" y="1328"/>
                  </a:lnTo>
                  <a:lnTo>
                    <a:pt x="2250" y="1318"/>
                  </a:lnTo>
                  <a:lnTo>
                    <a:pt x="2247" y="1308"/>
                  </a:lnTo>
                  <a:lnTo>
                    <a:pt x="2242" y="1300"/>
                  </a:lnTo>
                  <a:lnTo>
                    <a:pt x="2239" y="1297"/>
                  </a:lnTo>
                  <a:lnTo>
                    <a:pt x="2235" y="1294"/>
                  </a:lnTo>
                  <a:lnTo>
                    <a:pt x="2235" y="1294"/>
                  </a:lnTo>
                  <a:close/>
                  <a:moveTo>
                    <a:pt x="1126" y="1373"/>
                  </a:moveTo>
                  <a:lnTo>
                    <a:pt x="1126" y="1373"/>
                  </a:lnTo>
                  <a:lnTo>
                    <a:pt x="1102" y="1371"/>
                  </a:lnTo>
                  <a:lnTo>
                    <a:pt x="1080" y="1368"/>
                  </a:lnTo>
                  <a:lnTo>
                    <a:pt x="1058" y="1362"/>
                  </a:lnTo>
                  <a:lnTo>
                    <a:pt x="1037" y="1355"/>
                  </a:lnTo>
                  <a:lnTo>
                    <a:pt x="1016" y="1346"/>
                  </a:lnTo>
                  <a:lnTo>
                    <a:pt x="998" y="1334"/>
                  </a:lnTo>
                  <a:lnTo>
                    <a:pt x="981" y="1321"/>
                  </a:lnTo>
                  <a:lnTo>
                    <a:pt x="964" y="1306"/>
                  </a:lnTo>
                  <a:lnTo>
                    <a:pt x="950" y="1290"/>
                  </a:lnTo>
                  <a:lnTo>
                    <a:pt x="936" y="1272"/>
                  </a:lnTo>
                  <a:lnTo>
                    <a:pt x="926" y="1254"/>
                  </a:lnTo>
                  <a:lnTo>
                    <a:pt x="916" y="1234"/>
                  </a:lnTo>
                  <a:lnTo>
                    <a:pt x="908" y="1213"/>
                  </a:lnTo>
                  <a:lnTo>
                    <a:pt x="902" y="1191"/>
                  </a:lnTo>
                  <a:lnTo>
                    <a:pt x="899" y="1169"/>
                  </a:lnTo>
                  <a:lnTo>
                    <a:pt x="898" y="1145"/>
                  </a:lnTo>
                  <a:lnTo>
                    <a:pt x="898" y="1145"/>
                  </a:lnTo>
                  <a:lnTo>
                    <a:pt x="899" y="1123"/>
                  </a:lnTo>
                  <a:lnTo>
                    <a:pt x="902" y="1099"/>
                  </a:lnTo>
                  <a:lnTo>
                    <a:pt x="908" y="1078"/>
                  </a:lnTo>
                  <a:lnTo>
                    <a:pt x="916" y="1058"/>
                  </a:lnTo>
                  <a:lnTo>
                    <a:pt x="926" y="1037"/>
                  </a:lnTo>
                  <a:lnTo>
                    <a:pt x="936" y="1018"/>
                  </a:lnTo>
                  <a:lnTo>
                    <a:pt x="950" y="1002"/>
                  </a:lnTo>
                  <a:lnTo>
                    <a:pt x="964" y="985"/>
                  </a:lnTo>
                  <a:lnTo>
                    <a:pt x="981" y="970"/>
                  </a:lnTo>
                  <a:lnTo>
                    <a:pt x="998" y="957"/>
                  </a:lnTo>
                  <a:lnTo>
                    <a:pt x="1016" y="945"/>
                  </a:lnTo>
                  <a:lnTo>
                    <a:pt x="1037" y="936"/>
                  </a:lnTo>
                  <a:lnTo>
                    <a:pt x="1058" y="929"/>
                  </a:lnTo>
                  <a:lnTo>
                    <a:pt x="1080" y="923"/>
                  </a:lnTo>
                  <a:lnTo>
                    <a:pt x="1102" y="920"/>
                  </a:lnTo>
                  <a:lnTo>
                    <a:pt x="1126" y="919"/>
                  </a:lnTo>
                  <a:lnTo>
                    <a:pt x="1126" y="919"/>
                  </a:lnTo>
                  <a:lnTo>
                    <a:pt x="1148" y="920"/>
                  </a:lnTo>
                  <a:lnTo>
                    <a:pt x="1171" y="923"/>
                  </a:lnTo>
                  <a:lnTo>
                    <a:pt x="1192" y="929"/>
                  </a:lnTo>
                  <a:lnTo>
                    <a:pt x="1213" y="936"/>
                  </a:lnTo>
                  <a:lnTo>
                    <a:pt x="1234" y="945"/>
                  </a:lnTo>
                  <a:lnTo>
                    <a:pt x="1253" y="957"/>
                  </a:lnTo>
                  <a:lnTo>
                    <a:pt x="1269" y="970"/>
                  </a:lnTo>
                  <a:lnTo>
                    <a:pt x="1285" y="985"/>
                  </a:lnTo>
                  <a:lnTo>
                    <a:pt x="1300" y="1002"/>
                  </a:lnTo>
                  <a:lnTo>
                    <a:pt x="1313" y="1018"/>
                  </a:lnTo>
                  <a:lnTo>
                    <a:pt x="1325" y="1037"/>
                  </a:lnTo>
                  <a:lnTo>
                    <a:pt x="1334" y="1058"/>
                  </a:lnTo>
                  <a:lnTo>
                    <a:pt x="1342" y="1078"/>
                  </a:lnTo>
                  <a:lnTo>
                    <a:pt x="1347" y="1099"/>
                  </a:lnTo>
                  <a:lnTo>
                    <a:pt x="1350" y="1123"/>
                  </a:lnTo>
                  <a:lnTo>
                    <a:pt x="1352" y="1145"/>
                  </a:lnTo>
                  <a:lnTo>
                    <a:pt x="1352" y="1145"/>
                  </a:lnTo>
                  <a:lnTo>
                    <a:pt x="1350" y="1169"/>
                  </a:lnTo>
                  <a:lnTo>
                    <a:pt x="1347" y="1191"/>
                  </a:lnTo>
                  <a:lnTo>
                    <a:pt x="1342" y="1213"/>
                  </a:lnTo>
                  <a:lnTo>
                    <a:pt x="1334" y="1234"/>
                  </a:lnTo>
                  <a:lnTo>
                    <a:pt x="1325" y="1254"/>
                  </a:lnTo>
                  <a:lnTo>
                    <a:pt x="1313" y="1272"/>
                  </a:lnTo>
                  <a:lnTo>
                    <a:pt x="1300" y="1290"/>
                  </a:lnTo>
                  <a:lnTo>
                    <a:pt x="1285" y="1306"/>
                  </a:lnTo>
                  <a:lnTo>
                    <a:pt x="1269" y="1321"/>
                  </a:lnTo>
                  <a:lnTo>
                    <a:pt x="1253" y="1334"/>
                  </a:lnTo>
                  <a:lnTo>
                    <a:pt x="1234" y="1346"/>
                  </a:lnTo>
                  <a:lnTo>
                    <a:pt x="1213" y="1355"/>
                  </a:lnTo>
                  <a:lnTo>
                    <a:pt x="1192" y="1362"/>
                  </a:lnTo>
                  <a:lnTo>
                    <a:pt x="1171" y="1368"/>
                  </a:lnTo>
                  <a:lnTo>
                    <a:pt x="1148" y="1371"/>
                  </a:lnTo>
                  <a:lnTo>
                    <a:pt x="1126" y="1373"/>
                  </a:lnTo>
                  <a:lnTo>
                    <a:pt x="1126" y="1373"/>
                  </a:lnTo>
                  <a:close/>
                </a:path>
              </a:pathLst>
            </a:custGeom>
            <a:solidFill>
              <a:srgbClr val="00B050"/>
            </a:solidFill>
            <a:ln w="9525">
              <a:noFill/>
              <a:prstDash val="sysDash"/>
              <a:miter lim="800000"/>
              <a:headEnd/>
              <a:tailEnd/>
            </a:ln>
          </p:spPr>
          <p:txBody>
            <a:bodyPr lIns="18288" tIns="18288" rIns="18288" bIns="18288" anchor="ctr" anchorCtr="1"/>
            <a:lstStyle/>
            <a:p>
              <a:pPr algn="ctr" defTabSz="1218987">
                <a:lnSpc>
                  <a:spcPct val="85000"/>
                </a:lnSpc>
                <a:spcBef>
                  <a:spcPct val="20000"/>
                </a:spcBef>
              </a:pPr>
              <a:endParaRPr lang="en-US" sz="1600" b="1" dirty="0">
                <a:solidFill>
                  <a:srgbClr val="FFFFFF"/>
                </a:solidFill>
                <a:latin typeface="Arial Narrow" pitchFamily="112" charset="0"/>
              </a:endParaRPr>
            </a:p>
          </p:txBody>
        </p:sp>
        <p:sp>
          <p:nvSpPr>
            <p:cNvPr id="1758" name="Freeform 7"/>
            <p:cNvSpPr>
              <a:spLocks/>
            </p:cNvSpPr>
            <p:nvPr/>
          </p:nvSpPr>
          <p:spPr bwMode="auto">
            <a:xfrm flipH="1">
              <a:off x="8252729" y="1966611"/>
              <a:ext cx="740518" cy="293988"/>
            </a:xfrm>
            <a:custGeom>
              <a:avLst/>
              <a:gdLst/>
              <a:ahLst/>
              <a:cxnLst>
                <a:cxn ang="0">
                  <a:pos x="3430" y="953"/>
                </a:cxn>
                <a:cxn ang="0">
                  <a:pos x="3321" y="797"/>
                </a:cxn>
                <a:cxn ang="0">
                  <a:pos x="3197" y="652"/>
                </a:cxn>
                <a:cxn ang="0">
                  <a:pos x="3062" y="518"/>
                </a:cxn>
                <a:cxn ang="0">
                  <a:pos x="2914" y="399"/>
                </a:cxn>
                <a:cxn ang="0">
                  <a:pos x="2755" y="293"/>
                </a:cxn>
                <a:cxn ang="0">
                  <a:pos x="2587" y="202"/>
                </a:cxn>
                <a:cxn ang="0">
                  <a:pos x="2411" y="127"/>
                </a:cxn>
                <a:cxn ang="0">
                  <a:pos x="2225" y="68"/>
                </a:cxn>
                <a:cxn ang="0">
                  <a:pos x="2034" y="27"/>
                </a:cxn>
                <a:cxn ang="0">
                  <a:pos x="1835" y="4"/>
                </a:cxn>
                <a:cxn ang="0">
                  <a:pos x="1699" y="0"/>
                </a:cxn>
                <a:cxn ang="0">
                  <a:pos x="1503" y="9"/>
                </a:cxn>
                <a:cxn ang="0">
                  <a:pos x="1312" y="37"/>
                </a:cxn>
                <a:cxn ang="0">
                  <a:pos x="1126" y="81"/>
                </a:cxn>
                <a:cxn ang="0">
                  <a:pos x="948" y="143"/>
                </a:cxn>
                <a:cxn ang="0">
                  <a:pos x="777" y="219"/>
                </a:cxn>
                <a:cxn ang="0">
                  <a:pos x="615" y="311"/>
                </a:cxn>
                <a:cxn ang="0">
                  <a:pos x="464" y="415"/>
                </a:cxn>
                <a:cxn ang="0">
                  <a:pos x="321" y="535"/>
                </a:cxn>
                <a:cxn ang="0">
                  <a:pos x="191" y="664"/>
                </a:cxn>
                <a:cxn ang="0">
                  <a:pos x="72" y="807"/>
                </a:cxn>
                <a:cxn ang="0">
                  <a:pos x="385" y="897"/>
                </a:cxn>
                <a:cxn ang="0">
                  <a:pos x="599" y="1237"/>
                </a:cxn>
                <a:cxn ang="0">
                  <a:pos x="676" y="1141"/>
                </a:cxn>
                <a:cxn ang="0">
                  <a:pos x="761" y="1055"/>
                </a:cxn>
                <a:cxn ang="0">
                  <a:pos x="852" y="975"/>
                </a:cxn>
                <a:cxn ang="0">
                  <a:pos x="951" y="904"/>
                </a:cxn>
                <a:cxn ang="0">
                  <a:pos x="1056" y="841"/>
                </a:cxn>
                <a:cxn ang="0">
                  <a:pos x="1168" y="788"/>
                </a:cxn>
                <a:cxn ang="0">
                  <a:pos x="1282" y="745"/>
                </a:cxn>
                <a:cxn ang="0">
                  <a:pos x="1403" y="713"/>
                </a:cxn>
                <a:cxn ang="0">
                  <a:pos x="1528" y="691"/>
                </a:cxn>
                <a:cxn ang="0">
                  <a:pos x="1657" y="680"/>
                </a:cxn>
                <a:cxn ang="0">
                  <a:pos x="1743" y="680"/>
                </a:cxn>
                <a:cxn ang="0">
                  <a:pos x="1875" y="691"/>
                </a:cxn>
                <a:cxn ang="0">
                  <a:pos x="2001" y="713"/>
                </a:cxn>
                <a:cxn ang="0">
                  <a:pos x="2123" y="747"/>
                </a:cxn>
                <a:cxn ang="0">
                  <a:pos x="2240" y="791"/>
                </a:cxn>
                <a:cxn ang="0">
                  <a:pos x="2353" y="845"/>
                </a:cxn>
                <a:cxn ang="0">
                  <a:pos x="2458" y="910"/>
                </a:cxn>
                <a:cxn ang="0">
                  <a:pos x="2558" y="984"/>
                </a:cxn>
                <a:cxn ang="0">
                  <a:pos x="2651" y="1065"/>
                </a:cxn>
                <a:cxn ang="0">
                  <a:pos x="2735" y="1155"/>
                </a:cxn>
                <a:cxn ang="0">
                  <a:pos x="2811" y="1252"/>
                </a:cxn>
                <a:cxn ang="0">
                  <a:pos x="2636" y="1402"/>
                </a:cxn>
                <a:cxn ang="0">
                  <a:pos x="3624" y="844"/>
                </a:cxn>
              </a:cxnLst>
              <a:rect l="0" t="0" r="r" b="b"/>
              <a:pathLst>
                <a:path w="3626" h="1438">
                  <a:moveTo>
                    <a:pt x="3624" y="844"/>
                  </a:moveTo>
                  <a:lnTo>
                    <a:pt x="3430" y="953"/>
                  </a:lnTo>
                  <a:lnTo>
                    <a:pt x="3430" y="953"/>
                  </a:lnTo>
                  <a:lnTo>
                    <a:pt x="3395" y="900"/>
                  </a:lnTo>
                  <a:lnTo>
                    <a:pt x="3358" y="847"/>
                  </a:lnTo>
                  <a:lnTo>
                    <a:pt x="3321" y="797"/>
                  </a:lnTo>
                  <a:lnTo>
                    <a:pt x="3281" y="747"/>
                  </a:lnTo>
                  <a:lnTo>
                    <a:pt x="3240" y="698"/>
                  </a:lnTo>
                  <a:lnTo>
                    <a:pt x="3197" y="652"/>
                  </a:lnTo>
                  <a:lnTo>
                    <a:pt x="3153" y="607"/>
                  </a:lnTo>
                  <a:lnTo>
                    <a:pt x="3109" y="563"/>
                  </a:lnTo>
                  <a:lnTo>
                    <a:pt x="3062" y="518"/>
                  </a:lnTo>
                  <a:lnTo>
                    <a:pt x="3013" y="477"/>
                  </a:lnTo>
                  <a:lnTo>
                    <a:pt x="2964" y="437"/>
                  </a:lnTo>
                  <a:lnTo>
                    <a:pt x="2914" y="399"/>
                  </a:lnTo>
                  <a:lnTo>
                    <a:pt x="2863" y="362"/>
                  </a:lnTo>
                  <a:lnTo>
                    <a:pt x="2810" y="327"/>
                  </a:lnTo>
                  <a:lnTo>
                    <a:pt x="2755" y="293"/>
                  </a:lnTo>
                  <a:lnTo>
                    <a:pt x="2701" y="261"/>
                  </a:lnTo>
                  <a:lnTo>
                    <a:pt x="2645" y="231"/>
                  </a:lnTo>
                  <a:lnTo>
                    <a:pt x="2587" y="202"/>
                  </a:lnTo>
                  <a:lnTo>
                    <a:pt x="2530" y="175"/>
                  </a:lnTo>
                  <a:lnTo>
                    <a:pt x="2471" y="150"/>
                  </a:lnTo>
                  <a:lnTo>
                    <a:pt x="2411" y="127"/>
                  </a:lnTo>
                  <a:lnTo>
                    <a:pt x="2350" y="105"/>
                  </a:lnTo>
                  <a:lnTo>
                    <a:pt x="2288" y="85"/>
                  </a:lnTo>
                  <a:lnTo>
                    <a:pt x="2225" y="68"/>
                  </a:lnTo>
                  <a:lnTo>
                    <a:pt x="2162" y="52"/>
                  </a:lnTo>
                  <a:lnTo>
                    <a:pt x="2098" y="38"/>
                  </a:lnTo>
                  <a:lnTo>
                    <a:pt x="2034" y="27"/>
                  </a:lnTo>
                  <a:lnTo>
                    <a:pt x="1967" y="16"/>
                  </a:lnTo>
                  <a:lnTo>
                    <a:pt x="1903" y="9"/>
                  </a:lnTo>
                  <a:lnTo>
                    <a:pt x="1835" y="4"/>
                  </a:lnTo>
                  <a:lnTo>
                    <a:pt x="1768" y="0"/>
                  </a:lnTo>
                  <a:lnTo>
                    <a:pt x="1699" y="0"/>
                  </a:lnTo>
                  <a:lnTo>
                    <a:pt x="1699" y="0"/>
                  </a:lnTo>
                  <a:lnTo>
                    <a:pt x="1634" y="0"/>
                  </a:lnTo>
                  <a:lnTo>
                    <a:pt x="1568" y="3"/>
                  </a:lnTo>
                  <a:lnTo>
                    <a:pt x="1503" y="9"/>
                  </a:lnTo>
                  <a:lnTo>
                    <a:pt x="1439" y="16"/>
                  </a:lnTo>
                  <a:lnTo>
                    <a:pt x="1375" y="25"/>
                  </a:lnTo>
                  <a:lnTo>
                    <a:pt x="1312" y="37"/>
                  </a:lnTo>
                  <a:lnTo>
                    <a:pt x="1250" y="49"/>
                  </a:lnTo>
                  <a:lnTo>
                    <a:pt x="1188" y="65"/>
                  </a:lnTo>
                  <a:lnTo>
                    <a:pt x="1126" y="81"/>
                  </a:lnTo>
                  <a:lnTo>
                    <a:pt x="1066" y="100"/>
                  </a:lnTo>
                  <a:lnTo>
                    <a:pt x="1007" y="121"/>
                  </a:lnTo>
                  <a:lnTo>
                    <a:pt x="948" y="143"/>
                  </a:lnTo>
                  <a:lnTo>
                    <a:pt x="891" y="166"/>
                  </a:lnTo>
                  <a:lnTo>
                    <a:pt x="833" y="191"/>
                  </a:lnTo>
                  <a:lnTo>
                    <a:pt x="777" y="219"/>
                  </a:lnTo>
                  <a:lnTo>
                    <a:pt x="723" y="247"/>
                  </a:lnTo>
                  <a:lnTo>
                    <a:pt x="668" y="278"/>
                  </a:lnTo>
                  <a:lnTo>
                    <a:pt x="615" y="311"/>
                  </a:lnTo>
                  <a:lnTo>
                    <a:pt x="564" y="345"/>
                  </a:lnTo>
                  <a:lnTo>
                    <a:pt x="514" y="380"/>
                  </a:lnTo>
                  <a:lnTo>
                    <a:pt x="464" y="415"/>
                  </a:lnTo>
                  <a:lnTo>
                    <a:pt x="415" y="454"/>
                  </a:lnTo>
                  <a:lnTo>
                    <a:pt x="368" y="493"/>
                  </a:lnTo>
                  <a:lnTo>
                    <a:pt x="321" y="535"/>
                  </a:lnTo>
                  <a:lnTo>
                    <a:pt x="276" y="576"/>
                  </a:lnTo>
                  <a:lnTo>
                    <a:pt x="232" y="620"/>
                  </a:lnTo>
                  <a:lnTo>
                    <a:pt x="191" y="664"/>
                  </a:lnTo>
                  <a:lnTo>
                    <a:pt x="150" y="711"/>
                  </a:lnTo>
                  <a:lnTo>
                    <a:pt x="110" y="759"/>
                  </a:lnTo>
                  <a:lnTo>
                    <a:pt x="72" y="807"/>
                  </a:lnTo>
                  <a:lnTo>
                    <a:pt x="35" y="856"/>
                  </a:lnTo>
                  <a:lnTo>
                    <a:pt x="0" y="907"/>
                  </a:lnTo>
                  <a:lnTo>
                    <a:pt x="385" y="897"/>
                  </a:lnTo>
                  <a:lnTo>
                    <a:pt x="575" y="1270"/>
                  </a:lnTo>
                  <a:lnTo>
                    <a:pt x="575" y="1270"/>
                  </a:lnTo>
                  <a:lnTo>
                    <a:pt x="599" y="1237"/>
                  </a:lnTo>
                  <a:lnTo>
                    <a:pt x="624" y="1205"/>
                  </a:lnTo>
                  <a:lnTo>
                    <a:pt x="649" y="1172"/>
                  </a:lnTo>
                  <a:lnTo>
                    <a:pt x="676" y="1141"/>
                  </a:lnTo>
                  <a:lnTo>
                    <a:pt x="704" y="1112"/>
                  </a:lnTo>
                  <a:lnTo>
                    <a:pt x="732" y="1083"/>
                  </a:lnTo>
                  <a:lnTo>
                    <a:pt x="761" y="1055"/>
                  </a:lnTo>
                  <a:lnTo>
                    <a:pt x="791" y="1028"/>
                  </a:lnTo>
                  <a:lnTo>
                    <a:pt x="821" y="1000"/>
                  </a:lnTo>
                  <a:lnTo>
                    <a:pt x="852" y="975"/>
                  </a:lnTo>
                  <a:lnTo>
                    <a:pt x="885" y="950"/>
                  </a:lnTo>
                  <a:lnTo>
                    <a:pt x="917" y="926"/>
                  </a:lnTo>
                  <a:lnTo>
                    <a:pt x="951" y="904"/>
                  </a:lnTo>
                  <a:lnTo>
                    <a:pt x="985" y="882"/>
                  </a:lnTo>
                  <a:lnTo>
                    <a:pt x="1020" y="862"/>
                  </a:lnTo>
                  <a:lnTo>
                    <a:pt x="1056" y="841"/>
                  </a:lnTo>
                  <a:lnTo>
                    <a:pt x="1092" y="822"/>
                  </a:lnTo>
                  <a:lnTo>
                    <a:pt x="1129" y="804"/>
                  </a:lnTo>
                  <a:lnTo>
                    <a:pt x="1168" y="788"/>
                  </a:lnTo>
                  <a:lnTo>
                    <a:pt x="1204" y="773"/>
                  </a:lnTo>
                  <a:lnTo>
                    <a:pt x="1244" y="759"/>
                  </a:lnTo>
                  <a:lnTo>
                    <a:pt x="1282" y="745"/>
                  </a:lnTo>
                  <a:lnTo>
                    <a:pt x="1322" y="734"/>
                  </a:lnTo>
                  <a:lnTo>
                    <a:pt x="1363" y="722"/>
                  </a:lnTo>
                  <a:lnTo>
                    <a:pt x="1403" y="713"/>
                  </a:lnTo>
                  <a:lnTo>
                    <a:pt x="1444" y="704"/>
                  </a:lnTo>
                  <a:lnTo>
                    <a:pt x="1486" y="697"/>
                  </a:lnTo>
                  <a:lnTo>
                    <a:pt x="1528" y="691"/>
                  </a:lnTo>
                  <a:lnTo>
                    <a:pt x="1571" y="686"/>
                  </a:lnTo>
                  <a:lnTo>
                    <a:pt x="1614" y="682"/>
                  </a:lnTo>
                  <a:lnTo>
                    <a:pt x="1657" y="680"/>
                  </a:lnTo>
                  <a:lnTo>
                    <a:pt x="1699" y="680"/>
                  </a:lnTo>
                  <a:lnTo>
                    <a:pt x="1699" y="680"/>
                  </a:lnTo>
                  <a:lnTo>
                    <a:pt x="1743" y="680"/>
                  </a:lnTo>
                  <a:lnTo>
                    <a:pt x="1788" y="682"/>
                  </a:lnTo>
                  <a:lnTo>
                    <a:pt x="1832" y="686"/>
                  </a:lnTo>
                  <a:lnTo>
                    <a:pt x="1875" y="691"/>
                  </a:lnTo>
                  <a:lnTo>
                    <a:pt x="1917" y="697"/>
                  </a:lnTo>
                  <a:lnTo>
                    <a:pt x="1958" y="704"/>
                  </a:lnTo>
                  <a:lnTo>
                    <a:pt x="2001" y="713"/>
                  </a:lnTo>
                  <a:lnTo>
                    <a:pt x="2042" y="723"/>
                  </a:lnTo>
                  <a:lnTo>
                    <a:pt x="2082" y="735"/>
                  </a:lnTo>
                  <a:lnTo>
                    <a:pt x="2123" y="747"/>
                  </a:lnTo>
                  <a:lnTo>
                    <a:pt x="2163" y="760"/>
                  </a:lnTo>
                  <a:lnTo>
                    <a:pt x="2202" y="775"/>
                  </a:lnTo>
                  <a:lnTo>
                    <a:pt x="2240" y="791"/>
                  </a:lnTo>
                  <a:lnTo>
                    <a:pt x="2278" y="809"/>
                  </a:lnTo>
                  <a:lnTo>
                    <a:pt x="2316" y="826"/>
                  </a:lnTo>
                  <a:lnTo>
                    <a:pt x="2353" y="845"/>
                  </a:lnTo>
                  <a:lnTo>
                    <a:pt x="2389" y="866"/>
                  </a:lnTo>
                  <a:lnTo>
                    <a:pt x="2424" y="888"/>
                  </a:lnTo>
                  <a:lnTo>
                    <a:pt x="2458" y="910"/>
                  </a:lnTo>
                  <a:lnTo>
                    <a:pt x="2493" y="934"/>
                  </a:lnTo>
                  <a:lnTo>
                    <a:pt x="2526" y="959"/>
                  </a:lnTo>
                  <a:lnTo>
                    <a:pt x="2558" y="984"/>
                  </a:lnTo>
                  <a:lnTo>
                    <a:pt x="2589" y="1010"/>
                  </a:lnTo>
                  <a:lnTo>
                    <a:pt x="2620" y="1037"/>
                  </a:lnTo>
                  <a:lnTo>
                    <a:pt x="2651" y="1065"/>
                  </a:lnTo>
                  <a:lnTo>
                    <a:pt x="2680" y="1094"/>
                  </a:lnTo>
                  <a:lnTo>
                    <a:pt x="2708" y="1124"/>
                  </a:lnTo>
                  <a:lnTo>
                    <a:pt x="2735" y="1155"/>
                  </a:lnTo>
                  <a:lnTo>
                    <a:pt x="2761" y="1187"/>
                  </a:lnTo>
                  <a:lnTo>
                    <a:pt x="2786" y="1220"/>
                  </a:lnTo>
                  <a:lnTo>
                    <a:pt x="2811" y="1252"/>
                  </a:lnTo>
                  <a:lnTo>
                    <a:pt x="2835" y="1286"/>
                  </a:lnTo>
                  <a:lnTo>
                    <a:pt x="2635" y="1399"/>
                  </a:lnTo>
                  <a:lnTo>
                    <a:pt x="2636" y="1402"/>
                  </a:lnTo>
                  <a:lnTo>
                    <a:pt x="3306" y="1438"/>
                  </a:lnTo>
                  <a:lnTo>
                    <a:pt x="3626" y="847"/>
                  </a:lnTo>
                  <a:lnTo>
                    <a:pt x="3624" y="84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762" name="Group 176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1324378">
            <a:off x="8386704" y="1570429"/>
            <a:ext cx="1104442" cy="1178974"/>
            <a:chOff x="8855994" y="2447440"/>
            <a:chExt cx="1243863" cy="1265976"/>
          </a:xfrm>
        </p:grpSpPr>
        <p:sp>
          <p:nvSpPr>
            <p:cNvPr id="1763" name="Freeform 7"/>
            <p:cNvSpPr>
              <a:spLocks noEditPoints="1"/>
            </p:cNvSpPr>
            <p:nvPr/>
          </p:nvSpPr>
          <p:spPr bwMode="auto">
            <a:xfrm rot="396618">
              <a:off x="8855994" y="2447440"/>
              <a:ext cx="1243863" cy="1265976"/>
            </a:xfrm>
            <a:custGeom>
              <a:avLst/>
              <a:gdLst>
                <a:gd name="T0" fmla="*/ 1975 w 2250"/>
                <a:gd name="T1" fmla="*/ 1188 h 2291"/>
                <a:gd name="T2" fmla="*/ 1942 w 2250"/>
                <a:gd name="T3" fmla="*/ 1107 h 2291"/>
                <a:gd name="T4" fmla="*/ 1954 w 2250"/>
                <a:gd name="T5" fmla="*/ 959 h 2291"/>
                <a:gd name="T6" fmla="*/ 2202 w 2250"/>
                <a:gd name="T7" fmla="*/ 806 h 2291"/>
                <a:gd name="T8" fmla="*/ 2146 w 2250"/>
                <a:gd name="T9" fmla="*/ 632 h 2291"/>
                <a:gd name="T10" fmla="*/ 1979 w 2250"/>
                <a:gd name="T11" fmla="*/ 641 h 2291"/>
                <a:gd name="T12" fmla="*/ 1799 w 2250"/>
                <a:gd name="T13" fmla="*/ 673 h 2291"/>
                <a:gd name="T14" fmla="*/ 1695 w 2250"/>
                <a:gd name="T15" fmla="*/ 553 h 2291"/>
                <a:gd name="T16" fmla="*/ 1751 w 2250"/>
                <a:gd name="T17" fmla="*/ 374 h 2291"/>
                <a:gd name="T18" fmla="*/ 1723 w 2250"/>
                <a:gd name="T19" fmla="*/ 169 h 2291"/>
                <a:gd name="T20" fmla="*/ 1615 w 2250"/>
                <a:gd name="T21" fmla="*/ 132 h 2291"/>
                <a:gd name="T22" fmla="*/ 1430 w 2250"/>
                <a:gd name="T23" fmla="*/ 351 h 2291"/>
                <a:gd name="T24" fmla="*/ 1234 w 2250"/>
                <a:gd name="T25" fmla="*/ 326 h 2291"/>
                <a:gd name="T26" fmla="*/ 1182 w 2250"/>
                <a:gd name="T27" fmla="*/ 152 h 2291"/>
                <a:gd name="T28" fmla="*/ 1075 w 2250"/>
                <a:gd name="T29" fmla="*/ 0 h 2291"/>
                <a:gd name="T30" fmla="*/ 929 w 2250"/>
                <a:gd name="T31" fmla="*/ 37 h 2291"/>
                <a:gd name="T32" fmla="*/ 904 w 2250"/>
                <a:gd name="T33" fmla="*/ 334 h 2291"/>
                <a:gd name="T34" fmla="*/ 762 w 2250"/>
                <a:gd name="T35" fmla="*/ 407 h 2291"/>
                <a:gd name="T36" fmla="*/ 695 w 2250"/>
                <a:gd name="T37" fmla="*/ 407 h 2291"/>
                <a:gd name="T38" fmla="*/ 479 w 2250"/>
                <a:gd name="T39" fmla="*/ 219 h 2291"/>
                <a:gd name="T40" fmla="*/ 321 w 2250"/>
                <a:gd name="T41" fmla="*/ 334 h 2291"/>
                <a:gd name="T42" fmla="*/ 463 w 2250"/>
                <a:gd name="T43" fmla="*/ 595 h 2291"/>
                <a:gd name="T44" fmla="*/ 428 w 2250"/>
                <a:gd name="T45" fmla="*/ 713 h 2291"/>
                <a:gd name="T46" fmla="*/ 339 w 2250"/>
                <a:gd name="T47" fmla="*/ 797 h 2291"/>
                <a:gd name="T48" fmla="*/ 58 w 2250"/>
                <a:gd name="T49" fmla="*/ 777 h 2291"/>
                <a:gd name="T50" fmla="*/ 15 w 2250"/>
                <a:gd name="T51" fmla="*/ 985 h 2291"/>
                <a:gd name="T52" fmla="*/ 283 w 2250"/>
                <a:gd name="T53" fmla="*/ 1095 h 2291"/>
                <a:gd name="T54" fmla="*/ 309 w 2250"/>
                <a:gd name="T55" fmla="*/ 1188 h 2291"/>
                <a:gd name="T56" fmla="*/ 289 w 2250"/>
                <a:gd name="T57" fmla="*/ 1325 h 2291"/>
                <a:gd name="T58" fmla="*/ 45 w 2250"/>
                <a:gd name="T59" fmla="*/ 1481 h 2291"/>
                <a:gd name="T60" fmla="*/ 111 w 2250"/>
                <a:gd name="T61" fmla="*/ 1657 h 2291"/>
                <a:gd name="T62" fmla="*/ 320 w 2250"/>
                <a:gd name="T63" fmla="*/ 1626 h 2291"/>
                <a:gd name="T64" fmla="*/ 462 w 2250"/>
                <a:gd name="T65" fmla="*/ 1617 h 2291"/>
                <a:gd name="T66" fmla="*/ 562 w 2250"/>
                <a:gd name="T67" fmla="*/ 1741 h 2291"/>
                <a:gd name="T68" fmla="*/ 481 w 2250"/>
                <a:gd name="T69" fmla="*/ 1951 h 2291"/>
                <a:gd name="T70" fmla="*/ 577 w 2250"/>
                <a:gd name="T71" fmla="*/ 2139 h 2291"/>
                <a:gd name="T72" fmla="*/ 728 w 2250"/>
                <a:gd name="T73" fmla="*/ 2044 h 2291"/>
                <a:gd name="T74" fmla="*/ 852 w 2250"/>
                <a:gd name="T75" fmla="*/ 1914 h 2291"/>
                <a:gd name="T76" fmla="*/ 1035 w 2250"/>
                <a:gd name="T77" fmla="*/ 1973 h 2291"/>
                <a:gd name="T78" fmla="*/ 1092 w 2250"/>
                <a:gd name="T79" fmla="*/ 2219 h 2291"/>
                <a:gd name="T80" fmla="*/ 1208 w 2250"/>
                <a:gd name="T81" fmla="*/ 2278 h 2291"/>
                <a:gd name="T82" fmla="*/ 1321 w 2250"/>
                <a:gd name="T83" fmla="*/ 2243 h 2291"/>
                <a:gd name="T84" fmla="*/ 1343 w 2250"/>
                <a:gd name="T85" fmla="*/ 1953 h 2291"/>
                <a:gd name="T86" fmla="*/ 1488 w 2250"/>
                <a:gd name="T87" fmla="*/ 1873 h 2291"/>
                <a:gd name="T88" fmla="*/ 1559 w 2250"/>
                <a:gd name="T89" fmla="*/ 1879 h 2291"/>
                <a:gd name="T90" fmla="*/ 1784 w 2250"/>
                <a:gd name="T91" fmla="*/ 2062 h 2291"/>
                <a:gd name="T92" fmla="*/ 1923 w 2250"/>
                <a:gd name="T93" fmla="*/ 1954 h 2291"/>
                <a:gd name="T94" fmla="*/ 1837 w 2250"/>
                <a:gd name="T95" fmla="*/ 1756 h 2291"/>
                <a:gd name="T96" fmla="*/ 1784 w 2250"/>
                <a:gd name="T97" fmla="*/ 1624 h 2291"/>
                <a:gd name="T98" fmla="*/ 1895 w 2250"/>
                <a:gd name="T99" fmla="*/ 1482 h 2291"/>
                <a:gd name="T100" fmla="*/ 2185 w 2250"/>
                <a:gd name="T101" fmla="*/ 1506 h 2291"/>
                <a:gd name="T102" fmla="*/ 2242 w 2250"/>
                <a:gd name="T103" fmla="*/ 1300 h 2291"/>
                <a:gd name="T104" fmla="*/ 998 w 2250"/>
                <a:gd name="T105" fmla="*/ 1334 h 2291"/>
                <a:gd name="T106" fmla="*/ 898 w 2250"/>
                <a:gd name="T107" fmla="*/ 1145 h 2291"/>
                <a:gd name="T108" fmla="*/ 1016 w 2250"/>
                <a:gd name="T109" fmla="*/ 945 h 2291"/>
                <a:gd name="T110" fmla="*/ 1234 w 2250"/>
                <a:gd name="T111" fmla="*/ 945 h 2291"/>
                <a:gd name="T112" fmla="*/ 1352 w 2250"/>
                <a:gd name="T113" fmla="*/ 1145 h 2291"/>
                <a:gd name="T114" fmla="*/ 1253 w 2250"/>
                <a:gd name="T115" fmla="*/ 1334 h 2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50" h="2291">
                  <a:moveTo>
                    <a:pt x="2235" y="1294"/>
                  </a:moveTo>
                  <a:lnTo>
                    <a:pt x="2235" y="1294"/>
                  </a:lnTo>
                  <a:lnTo>
                    <a:pt x="2195" y="1275"/>
                  </a:lnTo>
                  <a:lnTo>
                    <a:pt x="2155" y="1257"/>
                  </a:lnTo>
                  <a:lnTo>
                    <a:pt x="2109" y="1238"/>
                  </a:lnTo>
                  <a:lnTo>
                    <a:pt x="2109" y="1238"/>
                  </a:lnTo>
                  <a:lnTo>
                    <a:pt x="2062" y="1219"/>
                  </a:lnTo>
                  <a:lnTo>
                    <a:pt x="2022" y="1204"/>
                  </a:lnTo>
                  <a:lnTo>
                    <a:pt x="1980" y="1191"/>
                  </a:lnTo>
                  <a:lnTo>
                    <a:pt x="1980" y="1191"/>
                  </a:lnTo>
                  <a:lnTo>
                    <a:pt x="1975" y="1188"/>
                  </a:lnTo>
                  <a:lnTo>
                    <a:pt x="1967" y="1183"/>
                  </a:lnTo>
                  <a:lnTo>
                    <a:pt x="1960" y="1179"/>
                  </a:lnTo>
                  <a:lnTo>
                    <a:pt x="1954" y="1173"/>
                  </a:lnTo>
                  <a:lnTo>
                    <a:pt x="1949" y="1167"/>
                  </a:lnTo>
                  <a:lnTo>
                    <a:pt x="1945" y="1160"/>
                  </a:lnTo>
                  <a:lnTo>
                    <a:pt x="1943" y="1152"/>
                  </a:lnTo>
                  <a:lnTo>
                    <a:pt x="1942" y="1144"/>
                  </a:lnTo>
                  <a:lnTo>
                    <a:pt x="1942" y="1121"/>
                  </a:lnTo>
                  <a:lnTo>
                    <a:pt x="1942" y="1121"/>
                  </a:lnTo>
                  <a:lnTo>
                    <a:pt x="1942" y="1107"/>
                  </a:lnTo>
                  <a:lnTo>
                    <a:pt x="1942" y="1107"/>
                  </a:lnTo>
                  <a:lnTo>
                    <a:pt x="1942" y="1092"/>
                  </a:lnTo>
                  <a:lnTo>
                    <a:pt x="1941" y="1077"/>
                  </a:lnTo>
                  <a:lnTo>
                    <a:pt x="1932" y="1007"/>
                  </a:lnTo>
                  <a:lnTo>
                    <a:pt x="1932" y="1007"/>
                  </a:lnTo>
                  <a:lnTo>
                    <a:pt x="1932" y="1000"/>
                  </a:lnTo>
                  <a:lnTo>
                    <a:pt x="1932" y="993"/>
                  </a:lnTo>
                  <a:lnTo>
                    <a:pt x="1935" y="985"/>
                  </a:lnTo>
                  <a:lnTo>
                    <a:pt x="1938" y="978"/>
                  </a:lnTo>
                  <a:lnTo>
                    <a:pt x="1942" y="970"/>
                  </a:lnTo>
                  <a:lnTo>
                    <a:pt x="1948" y="965"/>
                  </a:lnTo>
                  <a:lnTo>
                    <a:pt x="1954" y="959"/>
                  </a:lnTo>
                  <a:lnTo>
                    <a:pt x="1961" y="954"/>
                  </a:lnTo>
                  <a:lnTo>
                    <a:pt x="1961" y="954"/>
                  </a:lnTo>
                  <a:lnTo>
                    <a:pt x="2000" y="935"/>
                  </a:lnTo>
                  <a:lnTo>
                    <a:pt x="2038" y="914"/>
                  </a:lnTo>
                  <a:lnTo>
                    <a:pt x="2081" y="889"/>
                  </a:lnTo>
                  <a:lnTo>
                    <a:pt x="2081" y="889"/>
                  </a:lnTo>
                  <a:lnTo>
                    <a:pt x="2122" y="864"/>
                  </a:lnTo>
                  <a:lnTo>
                    <a:pt x="2161" y="837"/>
                  </a:lnTo>
                  <a:lnTo>
                    <a:pt x="2196" y="812"/>
                  </a:lnTo>
                  <a:lnTo>
                    <a:pt x="2196" y="812"/>
                  </a:lnTo>
                  <a:lnTo>
                    <a:pt x="2202" y="806"/>
                  </a:lnTo>
                  <a:lnTo>
                    <a:pt x="2205" y="797"/>
                  </a:lnTo>
                  <a:lnTo>
                    <a:pt x="2207" y="787"/>
                  </a:lnTo>
                  <a:lnTo>
                    <a:pt x="2205" y="777"/>
                  </a:lnTo>
                  <a:lnTo>
                    <a:pt x="2205" y="777"/>
                  </a:lnTo>
                  <a:lnTo>
                    <a:pt x="2198" y="753"/>
                  </a:lnTo>
                  <a:lnTo>
                    <a:pt x="2189" y="729"/>
                  </a:lnTo>
                  <a:lnTo>
                    <a:pt x="2179" y="704"/>
                  </a:lnTo>
                  <a:lnTo>
                    <a:pt x="2156" y="652"/>
                  </a:lnTo>
                  <a:lnTo>
                    <a:pt x="2156" y="652"/>
                  </a:lnTo>
                  <a:lnTo>
                    <a:pt x="2152" y="642"/>
                  </a:lnTo>
                  <a:lnTo>
                    <a:pt x="2146" y="632"/>
                  </a:lnTo>
                  <a:lnTo>
                    <a:pt x="2146" y="632"/>
                  </a:lnTo>
                  <a:lnTo>
                    <a:pt x="2139" y="623"/>
                  </a:lnTo>
                  <a:lnTo>
                    <a:pt x="2131" y="617"/>
                  </a:lnTo>
                  <a:lnTo>
                    <a:pt x="2121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071" y="620"/>
                  </a:lnTo>
                  <a:lnTo>
                    <a:pt x="2028" y="629"/>
                  </a:lnTo>
                  <a:lnTo>
                    <a:pt x="1979" y="641"/>
                  </a:lnTo>
                  <a:lnTo>
                    <a:pt x="1979" y="641"/>
                  </a:lnTo>
                  <a:lnTo>
                    <a:pt x="1930" y="652"/>
                  </a:lnTo>
                  <a:lnTo>
                    <a:pt x="1889" y="666"/>
                  </a:lnTo>
                  <a:lnTo>
                    <a:pt x="1847" y="679"/>
                  </a:lnTo>
                  <a:lnTo>
                    <a:pt x="1847" y="679"/>
                  </a:lnTo>
                  <a:lnTo>
                    <a:pt x="1838" y="681"/>
                  </a:lnTo>
                  <a:lnTo>
                    <a:pt x="1830" y="682"/>
                  </a:lnTo>
                  <a:lnTo>
                    <a:pt x="1821" y="682"/>
                  </a:lnTo>
                  <a:lnTo>
                    <a:pt x="1813" y="679"/>
                  </a:lnTo>
                  <a:lnTo>
                    <a:pt x="1806" y="676"/>
                  </a:lnTo>
                  <a:lnTo>
                    <a:pt x="1799" y="673"/>
                  </a:lnTo>
                  <a:lnTo>
                    <a:pt x="1793" y="667"/>
                  </a:lnTo>
                  <a:lnTo>
                    <a:pt x="1788" y="663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45" y="610"/>
                  </a:lnTo>
                  <a:lnTo>
                    <a:pt x="1710" y="568"/>
                  </a:lnTo>
                  <a:lnTo>
                    <a:pt x="1710" y="568"/>
                  </a:lnTo>
                  <a:lnTo>
                    <a:pt x="1699" y="559"/>
                  </a:lnTo>
                  <a:lnTo>
                    <a:pt x="1699" y="559"/>
                  </a:lnTo>
                  <a:lnTo>
                    <a:pt x="1695" y="553"/>
                  </a:lnTo>
                  <a:lnTo>
                    <a:pt x="1691" y="546"/>
                  </a:lnTo>
                  <a:lnTo>
                    <a:pt x="1689" y="539"/>
                  </a:lnTo>
                  <a:lnTo>
                    <a:pt x="1688" y="531"/>
                  </a:lnTo>
                  <a:lnTo>
                    <a:pt x="1688" y="522"/>
                  </a:lnTo>
                  <a:lnTo>
                    <a:pt x="1688" y="513"/>
                  </a:lnTo>
                  <a:lnTo>
                    <a:pt x="1691" y="506"/>
                  </a:lnTo>
                  <a:lnTo>
                    <a:pt x="1694" y="497"/>
                  </a:lnTo>
                  <a:lnTo>
                    <a:pt x="1694" y="497"/>
                  </a:lnTo>
                  <a:lnTo>
                    <a:pt x="1713" y="459"/>
                  </a:lnTo>
                  <a:lnTo>
                    <a:pt x="1731" y="420"/>
                  </a:lnTo>
                  <a:lnTo>
                    <a:pt x="1751" y="374"/>
                  </a:lnTo>
                  <a:lnTo>
                    <a:pt x="1751" y="374"/>
                  </a:lnTo>
                  <a:lnTo>
                    <a:pt x="1770" y="328"/>
                  </a:lnTo>
                  <a:lnTo>
                    <a:pt x="1785" y="287"/>
                  </a:lnTo>
                  <a:lnTo>
                    <a:pt x="1800" y="246"/>
                  </a:lnTo>
                  <a:lnTo>
                    <a:pt x="1800" y="246"/>
                  </a:lnTo>
                  <a:lnTo>
                    <a:pt x="1802" y="237"/>
                  </a:lnTo>
                  <a:lnTo>
                    <a:pt x="1799" y="228"/>
                  </a:lnTo>
                  <a:lnTo>
                    <a:pt x="1794" y="219"/>
                  </a:lnTo>
                  <a:lnTo>
                    <a:pt x="1791" y="215"/>
                  </a:lnTo>
                  <a:lnTo>
                    <a:pt x="1787" y="212"/>
                  </a:lnTo>
                  <a:lnTo>
                    <a:pt x="1723" y="169"/>
                  </a:lnTo>
                  <a:lnTo>
                    <a:pt x="1731" y="157"/>
                  </a:lnTo>
                  <a:lnTo>
                    <a:pt x="1722" y="167"/>
                  </a:lnTo>
                  <a:lnTo>
                    <a:pt x="1722" y="167"/>
                  </a:lnTo>
                  <a:lnTo>
                    <a:pt x="1697" y="152"/>
                  </a:lnTo>
                  <a:lnTo>
                    <a:pt x="1652" y="129"/>
                  </a:lnTo>
                  <a:lnTo>
                    <a:pt x="1652" y="129"/>
                  </a:lnTo>
                  <a:lnTo>
                    <a:pt x="1642" y="126"/>
                  </a:lnTo>
                  <a:lnTo>
                    <a:pt x="1631" y="124"/>
                  </a:lnTo>
                  <a:lnTo>
                    <a:pt x="1623" y="127"/>
                  </a:lnTo>
                  <a:lnTo>
                    <a:pt x="1618" y="129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578" y="170"/>
                  </a:lnTo>
                  <a:lnTo>
                    <a:pt x="1552" y="201"/>
                  </a:lnTo>
                  <a:lnTo>
                    <a:pt x="1522" y="234"/>
                  </a:lnTo>
                  <a:lnTo>
                    <a:pt x="1522" y="234"/>
                  </a:lnTo>
                  <a:lnTo>
                    <a:pt x="1491" y="274"/>
                  </a:lnTo>
                  <a:lnTo>
                    <a:pt x="1464" y="308"/>
                  </a:lnTo>
                  <a:lnTo>
                    <a:pt x="1439" y="342"/>
                  </a:lnTo>
                  <a:lnTo>
                    <a:pt x="1439" y="342"/>
                  </a:lnTo>
                  <a:lnTo>
                    <a:pt x="1430" y="351"/>
                  </a:lnTo>
                  <a:lnTo>
                    <a:pt x="1421" y="357"/>
                  </a:lnTo>
                  <a:lnTo>
                    <a:pt x="1411" y="362"/>
                  </a:lnTo>
                  <a:lnTo>
                    <a:pt x="1401" y="364"/>
                  </a:lnTo>
                  <a:lnTo>
                    <a:pt x="1401" y="364"/>
                  </a:lnTo>
                  <a:lnTo>
                    <a:pt x="1392" y="365"/>
                  </a:lnTo>
                  <a:lnTo>
                    <a:pt x="1383" y="364"/>
                  </a:lnTo>
                  <a:lnTo>
                    <a:pt x="1315" y="345"/>
                  </a:lnTo>
                  <a:lnTo>
                    <a:pt x="1248" y="331"/>
                  </a:lnTo>
                  <a:lnTo>
                    <a:pt x="1248" y="331"/>
                  </a:lnTo>
                  <a:lnTo>
                    <a:pt x="1241" y="328"/>
                  </a:lnTo>
                  <a:lnTo>
                    <a:pt x="1234" y="326"/>
                  </a:lnTo>
                  <a:lnTo>
                    <a:pt x="1226" y="321"/>
                  </a:lnTo>
                  <a:lnTo>
                    <a:pt x="1222" y="315"/>
                  </a:lnTo>
                  <a:lnTo>
                    <a:pt x="1216" y="309"/>
                  </a:lnTo>
                  <a:lnTo>
                    <a:pt x="1211" y="302"/>
                  </a:lnTo>
                  <a:lnTo>
                    <a:pt x="1208" y="294"/>
                  </a:lnTo>
                  <a:lnTo>
                    <a:pt x="1207" y="287"/>
                  </a:lnTo>
                  <a:lnTo>
                    <a:pt x="1207" y="287"/>
                  </a:lnTo>
                  <a:lnTo>
                    <a:pt x="1201" y="244"/>
                  </a:lnTo>
                  <a:lnTo>
                    <a:pt x="1192" y="201"/>
                  </a:lnTo>
                  <a:lnTo>
                    <a:pt x="1182" y="152"/>
                  </a:lnTo>
                  <a:lnTo>
                    <a:pt x="1182" y="152"/>
                  </a:lnTo>
                  <a:lnTo>
                    <a:pt x="1170" y="104"/>
                  </a:lnTo>
                  <a:lnTo>
                    <a:pt x="1158" y="61"/>
                  </a:lnTo>
                  <a:lnTo>
                    <a:pt x="1145" y="19"/>
                  </a:lnTo>
                  <a:lnTo>
                    <a:pt x="1145" y="19"/>
                  </a:lnTo>
                  <a:lnTo>
                    <a:pt x="1142" y="12"/>
                  </a:lnTo>
                  <a:lnTo>
                    <a:pt x="1135" y="6"/>
                  </a:lnTo>
                  <a:lnTo>
                    <a:pt x="1126" y="2"/>
                  </a:lnTo>
                  <a:lnTo>
                    <a:pt x="1114" y="0"/>
                  </a:lnTo>
                  <a:lnTo>
                    <a:pt x="1090" y="0"/>
                  </a:lnTo>
                  <a:lnTo>
                    <a:pt x="1090" y="0"/>
                  </a:lnTo>
                  <a:lnTo>
                    <a:pt x="1075" y="0"/>
                  </a:lnTo>
                  <a:lnTo>
                    <a:pt x="1075" y="0"/>
                  </a:lnTo>
                  <a:lnTo>
                    <a:pt x="1056" y="2"/>
                  </a:lnTo>
                  <a:lnTo>
                    <a:pt x="1037" y="3"/>
                  </a:lnTo>
                  <a:lnTo>
                    <a:pt x="956" y="12"/>
                  </a:lnTo>
                  <a:lnTo>
                    <a:pt x="956" y="12"/>
                  </a:lnTo>
                  <a:lnTo>
                    <a:pt x="951" y="13"/>
                  </a:lnTo>
                  <a:lnTo>
                    <a:pt x="947" y="15"/>
                  </a:lnTo>
                  <a:lnTo>
                    <a:pt x="938" y="21"/>
                  </a:lnTo>
                  <a:lnTo>
                    <a:pt x="932" y="28"/>
                  </a:lnTo>
                  <a:lnTo>
                    <a:pt x="929" y="37"/>
                  </a:lnTo>
                  <a:lnTo>
                    <a:pt x="929" y="37"/>
                  </a:lnTo>
                  <a:lnTo>
                    <a:pt x="923" y="80"/>
                  </a:lnTo>
                  <a:lnTo>
                    <a:pt x="919" y="124"/>
                  </a:lnTo>
                  <a:lnTo>
                    <a:pt x="914" y="173"/>
                  </a:lnTo>
                  <a:lnTo>
                    <a:pt x="914" y="173"/>
                  </a:lnTo>
                  <a:lnTo>
                    <a:pt x="911" y="229"/>
                  </a:lnTo>
                  <a:lnTo>
                    <a:pt x="910" y="266"/>
                  </a:lnTo>
                  <a:lnTo>
                    <a:pt x="910" y="309"/>
                  </a:lnTo>
                  <a:lnTo>
                    <a:pt x="910" y="309"/>
                  </a:lnTo>
                  <a:lnTo>
                    <a:pt x="910" y="318"/>
                  </a:lnTo>
                  <a:lnTo>
                    <a:pt x="907" y="327"/>
                  </a:lnTo>
                  <a:lnTo>
                    <a:pt x="904" y="334"/>
                  </a:lnTo>
                  <a:lnTo>
                    <a:pt x="901" y="342"/>
                  </a:lnTo>
                  <a:lnTo>
                    <a:pt x="895" y="349"/>
                  </a:lnTo>
                  <a:lnTo>
                    <a:pt x="890" y="354"/>
                  </a:lnTo>
                  <a:lnTo>
                    <a:pt x="883" y="358"/>
                  </a:lnTo>
                  <a:lnTo>
                    <a:pt x="877" y="361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12" y="385"/>
                  </a:lnTo>
                  <a:lnTo>
                    <a:pt x="762" y="407"/>
                  </a:lnTo>
                  <a:lnTo>
                    <a:pt x="762" y="407"/>
                  </a:lnTo>
                  <a:lnTo>
                    <a:pt x="751" y="413"/>
                  </a:lnTo>
                  <a:lnTo>
                    <a:pt x="751" y="413"/>
                  </a:lnTo>
                  <a:lnTo>
                    <a:pt x="744" y="416"/>
                  </a:lnTo>
                  <a:lnTo>
                    <a:pt x="738" y="417"/>
                  </a:lnTo>
                  <a:lnTo>
                    <a:pt x="731" y="419"/>
                  </a:lnTo>
                  <a:lnTo>
                    <a:pt x="723" y="417"/>
                  </a:lnTo>
                  <a:lnTo>
                    <a:pt x="716" y="416"/>
                  </a:lnTo>
                  <a:lnTo>
                    <a:pt x="710" y="414"/>
                  </a:lnTo>
                  <a:lnTo>
                    <a:pt x="703" y="411"/>
                  </a:lnTo>
                  <a:lnTo>
                    <a:pt x="697" y="407"/>
                  </a:lnTo>
                  <a:lnTo>
                    <a:pt x="695" y="407"/>
                  </a:lnTo>
                  <a:lnTo>
                    <a:pt x="689" y="401"/>
                  </a:lnTo>
                  <a:lnTo>
                    <a:pt x="689" y="401"/>
                  </a:lnTo>
                  <a:lnTo>
                    <a:pt x="651" y="362"/>
                  </a:lnTo>
                  <a:lnTo>
                    <a:pt x="623" y="336"/>
                  </a:lnTo>
                  <a:lnTo>
                    <a:pt x="590" y="308"/>
                  </a:lnTo>
                  <a:lnTo>
                    <a:pt x="590" y="308"/>
                  </a:lnTo>
                  <a:lnTo>
                    <a:pt x="553" y="275"/>
                  </a:lnTo>
                  <a:lnTo>
                    <a:pt x="518" y="249"/>
                  </a:lnTo>
                  <a:lnTo>
                    <a:pt x="484" y="222"/>
                  </a:lnTo>
                  <a:lnTo>
                    <a:pt x="484" y="222"/>
                  </a:lnTo>
                  <a:lnTo>
                    <a:pt x="479" y="219"/>
                  </a:lnTo>
                  <a:lnTo>
                    <a:pt x="475" y="218"/>
                  </a:lnTo>
                  <a:lnTo>
                    <a:pt x="466" y="218"/>
                  </a:lnTo>
                  <a:lnTo>
                    <a:pt x="456" y="219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17" y="247"/>
                  </a:lnTo>
                  <a:lnTo>
                    <a:pt x="388" y="271"/>
                  </a:lnTo>
                  <a:lnTo>
                    <a:pt x="355" y="297"/>
                  </a:lnTo>
                  <a:lnTo>
                    <a:pt x="327" y="327"/>
                  </a:lnTo>
                  <a:lnTo>
                    <a:pt x="327" y="327"/>
                  </a:lnTo>
                  <a:lnTo>
                    <a:pt x="321" y="334"/>
                  </a:lnTo>
                  <a:lnTo>
                    <a:pt x="317" y="345"/>
                  </a:lnTo>
                  <a:lnTo>
                    <a:pt x="317" y="355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39" y="401"/>
                  </a:lnTo>
                  <a:lnTo>
                    <a:pt x="361" y="439"/>
                  </a:lnTo>
                  <a:lnTo>
                    <a:pt x="386" y="482"/>
                  </a:lnTo>
                  <a:lnTo>
                    <a:pt x="386" y="482"/>
                  </a:lnTo>
                  <a:lnTo>
                    <a:pt x="414" y="524"/>
                  </a:lnTo>
                  <a:lnTo>
                    <a:pt x="438" y="561"/>
                  </a:lnTo>
                  <a:lnTo>
                    <a:pt x="463" y="595"/>
                  </a:lnTo>
                  <a:lnTo>
                    <a:pt x="463" y="595"/>
                  </a:lnTo>
                  <a:lnTo>
                    <a:pt x="467" y="602"/>
                  </a:lnTo>
                  <a:lnTo>
                    <a:pt x="470" y="610"/>
                  </a:lnTo>
                  <a:lnTo>
                    <a:pt x="473" y="618"/>
                  </a:lnTo>
                  <a:lnTo>
                    <a:pt x="473" y="626"/>
                  </a:lnTo>
                  <a:lnTo>
                    <a:pt x="473" y="635"/>
                  </a:lnTo>
                  <a:lnTo>
                    <a:pt x="472" y="642"/>
                  </a:lnTo>
                  <a:lnTo>
                    <a:pt x="469" y="649"/>
                  </a:lnTo>
                  <a:lnTo>
                    <a:pt x="466" y="655"/>
                  </a:lnTo>
                  <a:lnTo>
                    <a:pt x="428" y="713"/>
                  </a:lnTo>
                  <a:lnTo>
                    <a:pt x="428" y="713"/>
                  </a:lnTo>
                  <a:lnTo>
                    <a:pt x="405" y="753"/>
                  </a:lnTo>
                  <a:lnTo>
                    <a:pt x="395" y="772"/>
                  </a:lnTo>
                  <a:lnTo>
                    <a:pt x="395" y="772"/>
                  </a:lnTo>
                  <a:lnTo>
                    <a:pt x="391" y="778"/>
                  </a:lnTo>
                  <a:lnTo>
                    <a:pt x="385" y="784"/>
                  </a:lnTo>
                  <a:lnTo>
                    <a:pt x="379" y="789"/>
                  </a:lnTo>
                  <a:lnTo>
                    <a:pt x="371" y="793"/>
                  </a:lnTo>
                  <a:lnTo>
                    <a:pt x="364" y="796"/>
                  </a:lnTo>
                  <a:lnTo>
                    <a:pt x="355" y="797"/>
                  </a:lnTo>
                  <a:lnTo>
                    <a:pt x="348" y="797"/>
                  </a:lnTo>
                  <a:lnTo>
                    <a:pt x="339" y="797"/>
                  </a:lnTo>
                  <a:lnTo>
                    <a:pt x="339" y="797"/>
                  </a:lnTo>
                  <a:lnTo>
                    <a:pt x="297" y="791"/>
                  </a:lnTo>
                  <a:lnTo>
                    <a:pt x="255" y="786"/>
                  </a:lnTo>
                  <a:lnTo>
                    <a:pt x="204" y="781"/>
                  </a:lnTo>
                  <a:lnTo>
                    <a:pt x="204" y="781"/>
                  </a:lnTo>
                  <a:lnTo>
                    <a:pt x="154" y="777"/>
                  </a:lnTo>
                  <a:lnTo>
                    <a:pt x="110" y="775"/>
                  </a:lnTo>
                  <a:lnTo>
                    <a:pt x="65" y="774"/>
                  </a:lnTo>
                  <a:lnTo>
                    <a:pt x="65" y="774"/>
                  </a:lnTo>
                  <a:lnTo>
                    <a:pt x="61" y="775"/>
                  </a:lnTo>
                  <a:lnTo>
                    <a:pt x="58" y="777"/>
                  </a:lnTo>
                  <a:lnTo>
                    <a:pt x="49" y="781"/>
                  </a:lnTo>
                  <a:lnTo>
                    <a:pt x="43" y="789"/>
                  </a:lnTo>
                  <a:lnTo>
                    <a:pt x="39" y="797"/>
                  </a:lnTo>
                  <a:lnTo>
                    <a:pt x="16" y="874"/>
                  </a:lnTo>
                  <a:lnTo>
                    <a:pt x="2" y="951"/>
                  </a:lnTo>
                  <a:lnTo>
                    <a:pt x="2" y="951"/>
                  </a:lnTo>
                  <a:lnTo>
                    <a:pt x="0" y="962"/>
                  </a:lnTo>
                  <a:lnTo>
                    <a:pt x="3" y="972"/>
                  </a:lnTo>
                  <a:lnTo>
                    <a:pt x="9" y="979"/>
                  </a:lnTo>
                  <a:lnTo>
                    <a:pt x="12" y="982"/>
                  </a:lnTo>
                  <a:lnTo>
                    <a:pt x="15" y="985"/>
                  </a:lnTo>
                  <a:lnTo>
                    <a:pt x="15" y="985"/>
                  </a:lnTo>
                  <a:lnTo>
                    <a:pt x="55" y="1004"/>
                  </a:lnTo>
                  <a:lnTo>
                    <a:pt x="95" y="1022"/>
                  </a:lnTo>
                  <a:lnTo>
                    <a:pt x="142" y="1041"/>
                  </a:lnTo>
                  <a:lnTo>
                    <a:pt x="142" y="1041"/>
                  </a:lnTo>
                  <a:lnTo>
                    <a:pt x="188" y="1061"/>
                  </a:lnTo>
                  <a:lnTo>
                    <a:pt x="229" y="1075"/>
                  </a:lnTo>
                  <a:lnTo>
                    <a:pt x="269" y="1089"/>
                  </a:lnTo>
                  <a:lnTo>
                    <a:pt x="269" y="1089"/>
                  </a:lnTo>
                  <a:lnTo>
                    <a:pt x="277" y="1092"/>
                  </a:lnTo>
                  <a:lnTo>
                    <a:pt x="283" y="1095"/>
                  </a:lnTo>
                  <a:lnTo>
                    <a:pt x="290" y="1101"/>
                  </a:lnTo>
                  <a:lnTo>
                    <a:pt x="296" y="1107"/>
                  </a:lnTo>
                  <a:lnTo>
                    <a:pt x="300" y="1112"/>
                  </a:lnTo>
                  <a:lnTo>
                    <a:pt x="305" y="1120"/>
                  </a:lnTo>
                  <a:lnTo>
                    <a:pt x="308" y="1127"/>
                  </a:lnTo>
                  <a:lnTo>
                    <a:pt x="308" y="1136"/>
                  </a:lnTo>
                  <a:lnTo>
                    <a:pt x="308" y="1157"/>
                  </a:lnTo>
                  <a:lnTo>
                    <a:pt x="308" y="1157"/>
                  </a:lnTo>
                  <a:lnTo>
                    <a:pt x="309" y="1173"/>
                  </a:lnTo>
                  <a:lnTo>
                    <a:pt x="309" y="1173"/>
                  </a:lnTo>
                  <a:lnTo>
                    <a:pt x="309" y="1188"/>
                  </a:lnTo>
                  <a:lnTo>
                    <a:pt x="309" y="1203"/>
                  </a:lnTo>
                  <a:lnTo>
                    <a:pt x="318" y="1272"/>
                  </a:lnTo>
                  <a:lnTo>
                    <a:pt x="318" y="1272"/>
                  </a:lnTo>
                  <a:lnTo>
                    <a:pt x="318" y="1280"/>
                  </a:lnTo>
                  <a:lnTo>
                    <a:pt x="318" y="1287"/>
                  </a:lnTo>
                  <a:lnTo>
                    <a:pt x="317" y="1294"/>
                  </a:lnTo>
                  <a:lnTo>
                    <a:pt x="312" y="1302"/>
                  </a:lnTo>
                  <a:lnTo>
                    <a:pt x="308" y="1308"/>
                  </a:lnTo>
                  <a:lnTo>
                    <a:pt x="302" y="1315"/>
                  </a:lnTo>
                  <a:lnTo>
                    <a:pt x="296" y="1320"/>
                  </a:lnTo>
                  <a:lnTo>
                    <a:pt x="289" y="1325"/>
                  </a:lnTo>
                  <a:lnTo>
                    <a:pt x="289" y="1325"/>
                  </a:lnTo>
                  <a:lnTo>
                    <a:pt x="250" y="1345"/>
                  </a:lnTo>
                  <a:lnTo>
                    <a:pt x="212" y="1365"/>
                  </a:lnTo>
                  <a:lnTo>
                    <a:pt x="169" y="1391"/>
                  </a:lnTo>
                  <a:lnTo>
                    <a:pt x="169" y="1391"/>
                  </a:lnTo>
                  <a:lnTo>
                    <a:pt x="127" y="1416"/>
                  </a:lnTo>
                  <a:lnTo>
                    <a:pt x="89" y="1442"/>
                  </a:lnTo>
                  <a:lnTo>
                    <a:pt x="53" y="1466"/>
                  </a:lnTo>
                  <a:lnTo>
                    <a:pt x="53" y="1466"/>
                  </a:lnTo>
                  <a:lnTo>
                    <a:pt x="47" y="1473"/>
                  </a:lnTo>
                  <a:lnTo>
                    <a:pt x="45" y="1481"/>
                  </a:lnTo>
                  <a:lnTo>
                    <a:pt x="43" y="1493"/>
                  </a:lnTo>
                  <a:lnTo>
                    <a:pt x="45" y="1503"/>
                  </a:lnTo>
                  <a:lnTo>
                    <a:pt x="56" y="1538"/>
                  </a:lnTo>
                  <a:lnTo>
                    <a:pt x="71" y="1572"/>
                  </a:lnTo>
                  <a:lnTo>
                    <a:pt x="58" y="1578"/>
                  </a:lnTo>
                  <a:lnTo>
                    <a:pt x="71" y="1572"/>
                  </a:lnTo>
                  <a:lnTo>
                    <a:pt x="71" y="1572"/>
                  </a:lnTo>
                  <a:lnTo>
                    <a:pt x="98" y="1636"/>
                  </a:lnTo>
                  <a:lnTo>
                    <a:pt x="105" y="1648"/>
                  </a:lnTo>
                  <a:lnTo>
                    <a:pt x="105" y="1648"/>
                  </a:lnTo>
                  <a:lnTo>
                    <a:pt x="111" y="1657"/>
                  </a:lnTo>
                  <a:lnTo>
                    <a:pt x="120" y="1663"/>
                  </a:lnTo>
                  <a:lnTo>
                    <a:pt x="129" y="1666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81" y="1658"/>
                  </a:lnTo>
                  <a:lnTo>
                    <a:pt x="223" y="1651"/>
                  </a:lnTo>
                  <a:lnTo>
                    <a:pt x="271" y="1639"/>
                  </a:lnTo>
                  <a:lnTo>
                    <a:pt x="271" y="1639"/>
                  </a:lnTo>
                  <a:lnTo>
                    <a:pt x="320" y="1626"/>
                  </a:lnTo>
                  <a:lnTo>
                    <a:pt x="361" y="1614"/>
                  </a:lnTo>
                  <a:lnTo>
                    <a:pt x="402" y="1601"/>
                  </a:lnTo>
                  <a:lnTo>
                    <a:pt x="402" y="1601"/>
                  </a:lnTo>
                  <a:lnTo>
                    <a:pt x="411" y="1599"/>
                  </a:lnTo>
                  <a:lnTo>
                    <a:pt x="420" y="1598"/>
                  </a:lnTo>
                  <a:lnTo>
                    <a:pt x="429" y="1598"/>
                  </a:lnTo>
                  <a:lnTo>
                    <a:pt x="436" y="1601"/>
                  </a:lnTo>
                  <a:lnTo>
                    <a:pt x="444" y="1602"/>
                  </a:lnTo>
                  <a:lnTo>
                    <a:pt x="451" y="1606"/>
                  </a:lnTo>
                  <a:lnTo>
                    <a:pt x="457" y="1611"/>
                  </a:lnTo>
                  <a:lnTo>
                    <a:pt x="462" y="1617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504" y="1670"/>
                  </a:lnTo>
                  <a:lnTo>
                    <a:pt x="540" y="1712"/>
                  </a:lnTo>
                  <a:lnTo>
                    <a:pt x="541" y="1710"/>
                  </a:lnTo>
                  <a:lnTo>
                    <a:pt x="550" y="1720"/>
                  </a:lnTo>
                  <a:lnTo>
                    <a:pt x="550" y="1720"/>
                  </a:lnTo>
                  <a:lnTo>
                    <a:pt x="555" y="1726"/>
                  </a:lnTo>
                  <a:lnTo>
                    <a:pt x="559" y="1734"/>
                  </a:lnTo>
                  <a:lnTo>
                    <a:pt x="562" y="1741"/>
                  </a:lnTo>
                  <a:lnTo>
                    <a:pt x="564" y="1749"/>
                  </a:lnTo>
                  <a:lnTo>
                    <a:pt x="564" y="1757"/>
                  </a:lnTo>
                  <a:lnTo>
                    <a:pt x="562" y="1766"/>
                  </a:lnTo>
                  <a:lnTo>
                    <a:pt x="561" y="1774"/>
                  </a:lnTo>
                  <a:lnTo>
                    <a:pt x="556" y="1783"/>
                  </a:lnTo>
                  <a:lnTo>
                    <a:pt x="556" y="1783"/>
                  </a:lnTo>
                  <a:lnTo>
                    <a:pt x="537" y="1821"/>
                  </a:lnTo>
                  <a:lnTo>
                    <a:pt x="519" y="1859"/>
                  </a:lnTo>
                  <a:lnTo>
                    <a:pt x="499" y="1905"/>
                  </a:lnTo>
                  <a:lnTo>
                    <a:pt x="499" y="1905"/>
                  </a:lnTo>
                  <a:lnTo>
                    <a:pt x="481" y="1951"/>
                  </a:lnTo>
                  <a:lnTo>
                    <a:pt x="465" y="1993"/>
                  </a:lnTo>
                  <a:lnTo>
                    <a:pt x="450" y="2034"/>
                  </a:lnTo>
                  <a:lnTo>
                    <a:pt x="450" y="2034"/>
                  </a:lnTo>
                  <a:lnTo>
                    <a:pt x="448" y="2043"/>
                  </a:lnTo>
                  <a:lnTo>
                    <a:pt x="451" y="2052"/>
                  </a:lnTo>
                  <a:lnTo>
                    <a:pt x="456" y="2061"/>
                  </a:lnTo>
                  <a:lnTo>
                    <a:pt x="459" y="2065"/>
                  </a:lnTo>
                  <a:lnTo>
                    <a:pt x="463" y="2068"/>
                  </a:lnTo>
                  <a:lnTo>
                    <a:pt x="530" y="2112"/>
                  </a:lnTo>
                  <a:lnTo>
                    <a:pt x="530" y="2112"/>
                  </a:lnTo>
                  <a:lnTo>
                    <a:pt x="577" y="2139"/>
                  </a:lnTo>
                  <a:lnTo>
                    <a:pt x="599" y="2151"/>
                  </a:lnTo>
                  <a:lnTo>
                    <a:pt x="599" y="2151"/>
                  </a:lnTo>
                  <a:lnTo>
                    <a:pt x="608" y="2154"/>
                  </a:lnTo>
                  <a:lnTo>
                    <a:pt x="618" y="2155"/>
                  </a:lnTo>
                  <a:lnTo>
                    <a:pt x="627" y="2152"/>
                  </a:lnTo>
                  <a:lnTo>
                    <a:pt x="632" y="2151"/>
                  </a:lnTo>
                  <a:lnTo>
                    <a:pt x="635" y="2148"/>
                  </a:lnTo>
                  <a:lnTo>
                    <a:pt x="635" y="2148"/>
                  </a:lnTo>
                  <a:lnTo>
                    <a:pt x="666" y="2115"/>
                  </a:lnTo>
                  <a:lnTo>
                    <a:pt x="695" y="2083"/>
                  </a:lnTo>
                  <a:lnTo>
                    <a:pt x="728" y="2044"/>
                  </a:lnTo>
                  <a:lnTo>
                    <a:pt x="728" y="2044"/>
                  </a:lnTo>
                  <a:lnTo>
                    <a:pt x="760" y="2006"/>
                  </a:lnTo>
                  <a:lnTo>
                    <a:pt x="785" y="1972"/>
                  </a:lnTo>
                  <a:lnTo>
                    <a:pt x="812" y="1938"/>
                  </a:lnTo>
                  <a:lnTo>
                    <a:pt x="812" y="1938"/>
                  </a:lnTo>
                  <a:lnTo>
                    <a:pt x="817" y="1932"/>
                  </a:lnTo>
                  <a:lnTo>
                    <a:pt x="822" y="1926"/>
                  </a:lnTo>
                  <a:lnTo>
                    <a:pt x="830" y="1922"/>
                  </a:lnTo>
                  <a:lnTo>
                    <a:pt x="837" y="1919"/>
                  </a:lnTo>
                  <a:lnTo>
                    <a:pt x="845" y="1916"/>
                  </a:lnTo>
                  <a:lnTo>
                    <a:pt x="852" y="1914"/>
                  </a:lnTo>
                  <a:lnTo>
                    <a:pt x="861" y="1914"/>
                  </a:lnTo>
                  <a:lnTo>
                    <a:pt x="868" y="1916"/>
                  </a:lnTo>
                  <a:lnTo>
                    <a:pt x="935" y="1935"/>
                  </a:lnTo>
                  <a:lnTo>
                    <a:pt x="1001" y="1948"/>
                  </a:lnTo>
                  <a:lnTo>
                    <a:pt x="1001" y="1948"/>
                  </a:lnTo>
                  <a:lnTo>
                    <a:pt x="1009" y="1950"/>
                  </a:lnTo>
                  <a:lnTo>
                    <a:pt x="1016" y="1953"/>
                  </a:lnTo>
                  <a:lnTo>
                    <a:pt x="1022" y="1957"/>
                  </a:lnTo>
                  <a:lnTo>
                    <a:pt x="1027" y="1962"/>
                  </a:lnTo>
                  <a:lnTo>
                    <a:pt x="1032" y="1967"/>
                  </a:lnTo>
                  <a:lnTo>
                    <a:pt x="1035" y="1973"/>
                  </a:lnTo>
                  <a:lnTo>
                    <a:pt x="1038" y="1979"/>
                  </a:lnTo>
                  <a:lnTo>
                    <a:pt x="1041" y="1987"/>
                  </a:lnTo>
                  <a:lnTo>
                    <a:pt x="1041" y="1987"/>
                  </a:lnTo>
                  <a:lnTo>
                    <a:pt x="1043" y="1994"/>
                  </a:lnTo>
                  <a:lnTo>
                    <a:pt x="1043" y="1994"/>
                  </a:lnTo>
                  <a:lnTo>
                    <a:pt x="1052" y="2047"/>
                  </a:lnTo>
                  <a:lnTo>
                    <a:pt x="1059" y="2086"/>
                  </a:lnTo>
                  <a:lnTo>
                    <a:pt x="1068" y="2127"/>
                  </a:lnTo>
                  <a:lnTo>
                    <a:pt x="1068" y="2127"/>
                  </a:lnTo>
                  <a:lnTo>
                    <a:pt x="1080" y="2176"/>
                  </a:lnTo>
                  <a:lnTo>
                    <a:pt x="1092" y="2219"/>
                  </a:lnTo>
                  <a:lnTo>
                    <a:pt x="1105" y="2260"/>
                  </a:lnTo>
                  <a:lnTo>
                    <a:pt x="1105" y="2260"/>
                  </a:lnTo>
                  <a:lnTo>
                    <a:pt x="1108" y="2268"/>
                  </a:lnTo>
                  <a:lnTo>
                    <a:pt x="1115" y="2274"/>
                  </a:lnTo>
                  <a:lnTo>
                    <a:pt x="1126" y="2278"/>
                  </a:lnTo>
                  <a:lnTo>
                    <a:pt x="1136" y="2280"/>
                  </a:lnTo>
                  <a:lnTo>
                    <a:pt x="1148" y="2280"/>
                  </a:lnTo>
                  <a:lnTo>
                    <a:pt x="1148" y="2280"/>
                  </a:lnTo>
                  <a:lnTo>
                    <a:pt x="1183" y="2280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11" y="2291"/>
                  </a:lnTo>
                  <a:lnTo>
                    <a:pt x="1211" y="2291"/>
                  </a:lnTo>
                  <a:lnTo>
                    <a:pt x="1210" y="2277"/>
                  </a:lnTo>
                  <a:lnTo>
                    <a:pt x="1294" y="2268"/>
                  </a:lnTo>
                  <a:lnTo>
                    <a:pt x="1294" y="2268"/>
                  </a:lnTo>
                  <a:lnTo>
                    <a:pt x="1299" y="2266"/>
                  </a:lnTo>
                  <a:lnTo>
                    <a:pt x="1303" y="2265"/>
                  </a:lnTo>
                  <a:lnTo>
                    <a:pt x="1312" y="2259"/>
                  </a:lnTo>
                  <a:lnTo>
                    <a:pt x="1318" y="2251"/>
                  </a:lnTo>
                  <a:lnTo>
                    <a:pt x="1321" y="2243"/>
                  </a:lnTo>
                  <a:lnTo>
                    <a:pt x="1321" y="2243"/>
                  </a:lnTo>
                  <a:lnTo>
                    <a:pt x="1327" y="2200"/>
                  </a:lnTo>
                  <a:lnTo>
                    <a:pt x="1331" y="2155"/>
                  </a:lnTo>
                  <a:lnTo>
                    <a:pt x="1336" y="2105"/>
                  </a:lnTo>
                  <a:lnTo>
                    <a:pt x="1336" y="2105"/>
                  </a:lnTo>
                  <a:lnTo>
                    <a:pt x="1339" y="2059"/>
                  </a:lnTo>
                  <a:lnTo>
                    <a:pt x="1340" y="2013"/>
                  </a:lnTo>
                  <a:lnTo>
                    <a:pt x="1340" y="1970"/>
                  </a:lnTo>
                  <a:lnTo>
                    <a:pt x="1340" y="1970"/>
                  </a:lnTo>
                  <a:lnTo>
                    <a:pt x="1342" y="1962"/>
                  </a:lnTo>
                  <a:lnTo>
                    <a:pt x="1343" y="1953"/>
                  </a:lnTo>
                  <a:lnTo>
                    <a:pt x="1346" y="1945"/>
                  </a:lnTo>
                  <a:lnTo>
                    <a:pt x="1350" y="1938"/>
                  </a:lnTo>
                  <a:lnTo>
                    <a:pt x="1355" y="1930"/>
                  </a:lnTo>
                  <a:lnTo>
                    <a:pt x="1361" y="1926"/>
                  </a:lnTo>
                  <a:lnTo>
                    <a:pt x="1367" y="1922"/>
                  </a:lnTo>
                  <a:lnTo>
                    <a:pt x="1374" y="1919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438" y="1893"/>
                  </a:lnTo>
                  <a:lnTo>
                    <a:pt x="1488" y="1873"/>
                  </a:lnTo>
                  <a:lnTo>
                    <a:pt x="1488" y="1873"/>
                  </a:lnTo>
                  <a:lnTo>
                    <a:pt x="1500" y="1865"/>
                  </a:lnTo>
                  <a:lnTo>
                    <a:pt x="1500" y="1865"/>
                  </a:lnTo>
                  <a:lnTo>
                    <a:pt x="1506" y="1864"/>
                  </a:lnTo>
                  <a:lnTo>
                    <a:pt x="1513" y="1861"/>
                  </a:lnTo>
                  <a:lnTo>
                    <a:pt x="1522" y="1861"/>
                  </a:lnTo>
                  <a:lnTo>
                    <a:pt x="1529" y="1862"/>
                  </a:lnTo>
                  <a:lnTo>
                    <a:pt x="1538" y="1864"/>
                  </a:lnTo>
                  <a:lnTo>
                    <a:pt x="1546" y="1868"/>
                  </a:lnTo>
                  <a:lnTo>
                    <a:pt x="1553" y="1873"/>
                  </a:lnTo>
                  <a:lnTo>
                    <a:pt x="1559" y="1879"/>
                  </a:lnTo>
                  <a:lnTo>
                    <a:pt x="1559" y="1879"/>
                  </a:lnTo>
                  <a:lnTo>
                    <a:pt x="1590" y="1908"/>
                  </a:lnTo>
                  <a:lnTo>
                    <a:pt x="1623" y="1939"/>
                  </a:lnTo>
                  <a:lnTo>
                    <a:pt x="1660" y="1972"/>
                  </a:lnTo>
                  <a:lnTo>
                    <a:pt x="1660" y="1972"/>
                  </a:lnTo>
                  <a:lnTo>
                    <a:pt x="1698" y="2004"/>
                  </a:lnTo>
                  <a:lnTo>
                    <a:pt x="1732" y="2031"/>
                  </a:lnTo>
                  <a:lnTo>
                    <a:pt x="1766" y="2058"/>
                  </a:lnTo>
                  <a:lnTo>
                    <a:pt x="1766" y="2058"/>
                  </a:lnTo>
                  <a:lnTo>
                    <a:pt x="1775" y="2061"/>
                  </a:lnTo>
                  <a:lnTo>
                    <a:pt x="1784" y="2062"/>
                  </a:lnTo>
                  <a:lnTo>
                    <a:pt x="1794" y="2061"/>
                  </a:lnTo>
                  <a:lnTo>
                    <a:pt x="1800" y="2059"/>
                  </a:lnTo>
                  <a:lnTo>
                    <a:pt x="1804" y="2056"/>
                  </a:lnTo>
                  <a:lnTo>
                    <a:pt x="1804" y="2056"/>
                  </a:lnTo>
                  <a:lnTo>
                    <a:pt x="1824" y="2041"/>
                  </a:lnTo>
                  <a:lnTo>
                    <a:pt x="1865" y="2006"/>
                  </a:lnTo>
                  <a:lnTo>
                    <a:pt x="1865" y="2006"/>
                  </a:lnTo>
                  <a:lnTo>
                    <a:pt x="1887" y="1988"/>
                  </a:lnTo>
                  <a:lnTo>
                    <a:pt x="1905" y="1970"/>
                  </a:lnTo>
                  <a:lnTo>
                    <a:pt x="1923" y="1954"/>
                  </a:lnTo>
                  <a:lnTo>
                    <a:pt x="1923" y="1954"/>
                  </a:lnTo>
                  <a:lnTo>
                    <a:pt x="1927" y="1950"/>
                  </a:lnTo>
                  <a:lnTo>
                    <a:pt x="1930" y="1945"/>
                  </a:lnTo>
                  <a:lnTo>
                    <a:pt x="1933" y="1935"/>
                  </a:lnTo>
                  <a:lnTo>
                    <a:pt x="1933" y="1925"/>
                  </a:lnTo>
                  <a:lnTo>
                    <a:pt x="1932" y="1917"/>
                  </a:lnTo>
                  <a:lnTo>
                    <a:pt x="1932" y="1917"/>
                  </a:lnTo>
                  <a:lnTo>
                    <a:pt x="1911" y="1879"/>
                  </a:lnTo>
                  <a:lnTo>
                    <a:pt x="1890" y="1840"/>
                  </a:lnTo>
                  <a:lnTo>
                    <a:pt x="1864" y="1797"/>
                  </a:lnTo>
                  <a:lnTo>
                    <a:pt x="1864" y="1797"/>
                  </a:lnTo>
                  <a:lnTo>
                    <a:pt x="1837" y="1756"/>
                  </a:lnTo>
                  <a:lnTo>
                    <a:pt x="1812" y="1719"/>
                  </a:lnTo>
                  <a:lnTo>
                    <a:pt x="1787" y="1685"/>
                  </a:lnTo>
                  <a:lnTo>
                    <a:pt x="1787" y="1685"/>
                  </a:lnTo>
                  <a:lnTo>
                    <a:pt x="1782" y="1677"/>
                  </a:lnTo>
                  <a:lnTo>
                    <a:pt x="1779" y="1670"/>
                  </a:lnTo>
                  <a:lnTo>
                    <a:pt x="1776" y="1661"/>
                  </a:lnTo>
                  <a:lnTo>
                    <a:pt x="1776" y="1654"/>
                  </a:lnTo>
                  <a:lnTo>
                    <a:pt x="1776" y="1645"/>
                  </a:lnTo>
                  <a:lnTo>
                    <a:pt x="1778" y="1638"/>
                  </a:lnTo>
                  <a:lnTo>
                    <a:pt x="1781" y="1630"/>
                  </a:lnTo>
                  <a:lnTo>
                    <a:pt x="1784" y="1624"/>
                  </a:lnTo>
                  <a:lnTo>
                    <a:pt x="1822" y="1567"/>
                  </a:lnTo>
                  <a:lnTo>
                    <a:pt x="1822" y="1567"/>
                  </a:lnTo>
                  <a:lnTo>
                    <a:pt x="1844" y="1527"/>
                  </a:lnTo>
                  <a:lnTo>
                    <a:pt x="1855" y="1507"/>
                  </a:lnTo>
                  <a:lnTo>
                    <a:pt x="1855" y="1507"/>
                  </a:lnTo>
                  <a:lnTo>
                    <a:pt x="1859" y="1501"/>
                  </a:lnTo>
                  <a:lnTo>
                    <a:pt x="1865" y="1496"/>
                  </a:lnTo>
                  <a:lnTo>
                    <a:pt x="1871" y="1491"/>
                  </a:lnTo>
                  <a:lnTo>
                    <a:pt x="1878" y="1487"/>
                  </a:lnTo>
                  <a:lnTo>
                    <a:pt x="1886" y="1484"/>
                  </a:lnTo>
                  <a:lnTo>
                    <a:pt x="1895" y="1482"/>
                  </a:lnTo>
                  <a:lnTo>
                    <a:pt x="1902" y="1481"/>
                  </a:lnTo>
                  <a:lnTo>
                    <a:pt x="1911" y="1482"/>
                  </a:lnTo>
                  <a:lnTo>
                    <a:pt x="1911" y="1482"/>
                  </a:lnTo>
                  <a:lnTo>
                    <a:pt x="1954" y="1488"/>
                  </a:lnTo>
                  <a:lnTo>
                    <a:pt x="1997" y="1494"/>
                  </a:lnTo>
                  <a:lnTo>
                    <a:pt x="2046" y="1499"/>
                  </a:lnTo>
                  <a:lnTo>
                    <a:pt x="2046" y="1499"/>
                  </a:lnTo>
                  <a:lnTo>
                    <a:pt x="2096" y="1503"/>
                  </a:lnTo>
                  <a:lnTo>
                    <a:pt x="2140" y="1504"/>
                  </a:lnTo>
                  <a:lnTo>
                    <a:pt x="2185" y="1506"/>
                  </a:lnTo>
                  <a:lnTo>
                    <a:pt x="2185" y="1506"/>
                  </a:lnTo>
                  <a:lnTo>
                    <a:pt x="2189" y="1504"/>
                  </a:lnTo>
                  <a:lnTo>
                    <a:pt x="2193" y="1503"/>
                  </a:lnTo>
                  <a:lnTo>
                    <a:pt x="2201" y="1499"/>
                  </a:lnTo>
                  <a:lnTo>
                    <a:pt x="2208" y="1491"/>
                  </a:lnTo>
                  <a:lnTo>
                    <a:pt x="2213" y="1482"/>
                  </a:lnTo>
                  <a:lnTo>
                    <a:pt x="2233" y="1410"/>
                  </a:lnTo>
                  <a:lnTo>
                    <a:pt x="2250" y="1328"/>
                  </a:lnTo>
                  <a:lnTo>
                    <a:pt x="2250" y="1328"/>
                  </a:lnTo>
                  <a:lnTo>
                    <a:pt x="2250" y="1318"/>
                  </a:lnTo>
                  <a:lnTo>
                    <a:pt x="2247" y="1308"/>
                  </a:lnTo>
                  <a:lnTo>
                    <a:pt x="2242" y="1300"/>
                  </a:lnTo>
                  <a:lnTo>
                    <a:pt x="2239" y="1297"/>
                  </a:lnTo>
                  <a:lnTo>
                    <a:pt x="2235" y="1294"/>
                  </a:lnTo>
                  <a:lnTo>
                    <a:pt x="2235" y="1294"/>
                  </a:lnTo>
                  <a:close/>
                  <a:moveTo>
                    <a:pt x="1126" y="1373"/>
                  </a:moveTo>
                  <a:lnTo>
                    <a:pt x="1126" y="1373"/>
                  </a:lnTo>
                  <a:lnTo>
                    <a:pt x="1102" y="1371"/>
                  </a:lnTo>
                  <a:lnTo>
                    <a:pt x="1080" y="1368"/>
                  </a:lnTo>
                  <a:lnTo>
                    <a:pt x="1058" y="1362"/>
                  </a:lnTo>
                  <a:lnTo>
                    <a:pt x="1037" y="1355"/>
                  </a:lnTo>
                  <a:lnTo>
                    <a:pt x="1016" y="1346"/>
                  </a:lnTo>
                  <a:lnTo>
                    <a:pt x="998" y="1334"/>
                  </a:lnTo>
                  <a:lnTo>
                    <a:pt x="981" y="1321"/>
                  </a:lnTo>
                  <a:lnTo>
                    <a:pt x="964" y="1306"/>
                  </a:lnTo>
                  <a:lnTo>
                    <a:pt x="950" y="1290"/>
                  </a:lnTo>
                  <a:lnTo>
                    <a:pt x="936" y="1272"/>
                  </a:lnTo>
                  <a:lnTo>
                    <a:pt x="926" y="1254"/>
                  </a:lnTo>
                  <a:lnTo>
                    <a:pt x="916" y="1234"/>
                  </a:lnTo>
                  <a:lnTo>
                    <a:pt x="908" y="1213"/>
                  </a:lnTo>
                  <a:lnTo>
                    <a:pt x="902" y="1191"/>
                  </a:lnTo>
                  <a:lnTo>
                    <a:pt x="899" y="1169"/>
                  </a:lnTo>
                  <a:lnTo>
                    <a:pt x="898" y="1145"/>
                  </a:lnTo>
                  <a:lnTo>
                    <a:pt x="898" y="1145"/>
                  </a:lnTo>
                  <a:lnTo>
                    <a:pt x="899" y="1123"/>
                  </a:lnTo>
                  <a:lnTo>
                    <a:pt x="902" y="1099"/>
                  </a:lnTo>
                  <a:lnTo>
                    <a:pt x="908" y="1078"/>
                  </a:lnTo>
                  <a:lnTo>
                    <a:pt x="916" y="1058"/>
                  </a:lnTo>
                  <a:lnTo>
                    <a:pt x="926" y="1037"/>
                  </a:lnTo>
                  <a:lnTo>
                    <a:pt x="936" y="1018"/>
                  </a:lnTo>
                  <a:lnTo>
                    <a:pt x="950" y="1002"/>
                  </a:lnTo>
                  <a:lnTo>
                    <a:pt x="964" y="985"/>
                  </a:lnTo>
                  <a:lnTo>
                    <a:pt x="981" y="970"/>
                  </a:lnTo>
                  <a:lnTo>
                    <a:pt x="998" y="957"/>
                  </a:lnTo>
                  <a:lnTo>
                    <a:pt x="1016" y="945"/>
                  </a:lnTo>
                  <a:lnTo>
                    <a:pt x="1037" y="936"/>
                  </a:lnTo>
                  <a:lnTo>
                    <a:pt x="1058" y="929"/>
                  </a:lnTo>
                  <a:lnTo>
                    <a:pt x="1080" y="923"/>
                  </a:lnTo>
                  <a:lnTo>
                    <a:pt x="1102" y="920"/>
                  </a:lnTo>
                  <a:lnTo>
                    <a:pt x="1126" y="919"/>
                  </a:lnTo>
                  <a:lnTo>
                    <a:pt x="1126" y="919"/>
                  </a:lnTo>
                  <a:lnTo>
                    <a:pt x="1148" y="920"/>
                  </a:lnTo>
                  <a:lnTo>
                    <a:pt x="1171" y="923"/>
                  </a:lnTo>
                  <a:lnTo>
                    <a:pt x="1192" y="929"/>
                  </a:lnTo>
                  <a:lnTo>
                    <a:pt x="1213" y="936"/>
                  </a:lnTo>
                  <a:lnTo>
                    <a:pt x="1234" y="945"/>
                  </a:lnTo>
                  <a:lnTo>
                    <a:pt x="1253" y="957"/>
                  </a:lnTo>
                  <a:lnTo>
                    <a:pt x="1269" y="970"/>
                  </a:lnTo>
                  <a:lnTo>
                    <a:pt x="1285" y="985"/>
                  </a:lnTo>
                  <a:lnTo>
                    <a:pt x="1300" y="1002"/>
                  </a:lnTo>
                  <a:lnTo>
                    <a:pt x="1313" y="1018"/>
                  </a:lnTo>
                  <a:lnTo>
                    <a:pt x="1325" y="1037"/>
                  </a:lnTo>
                  <a:lnTo>
                    <a:pt x="1334" y="1058"/>
                  </a:lnTo>
                  <a:lnTo>
                    <a:pt x="1342" y="1078"/>
                  </a:lnTo>
                  <a:lnTo>
                    <a:pt x="1347" y="1099"/>
                  </a:lnTo>
                  <a:lnTo>
                    <a:pt x="1350" y="1123"/>
                  </a:lnTo>
                  <a:lnTo>
                    <a:pt x="1352" y="1145"/>
                  </a:lnTo>
                  <a:lnTo>
                    <a:pt x="1352" y="1145"/>
                  </a:lnTo>
                  <a:lnTo>
                    <a:pt x="1350" y="1169"/>
                  </a:lnTo>
                  <a:lnTo>
                    <a:pt x="1347" y="1191"/>
                  </a:lnTo>
                  <a:lnTo>
                    <a:pt x="1342" y="1213"/>
                  </a:lnTo>
                  <a:lnTo>
                    <a:pt x="1334" y="1234"/>
                  </a:lnTo>
                  <a:lnTo>
                    <a:pt x="1325" y="1254"/>
                  </a:lnTo>
                  <a:lnTo>
                    <a:pt x="1313" y="1272"/>
                  </a:lnTo>
                  <a:lnTo>
                    <a:pt x="1300" y="1290"/>
                  </a:lnTo>
                  <a:lnTo>
                    <a:pt x="1285" y="1306"/>
                  </a:lnTo>
                  <a:lnTo>
                    <a:pt x="1269" y="1321"/>
                  </a:lnTo>
                  <a:lnTo>
                    <a:pt x="1253" y="1334"/>
                  </a:lnTo>
                  <a:lnTo>
                    <a:pt x="1234" y="1346"/>
                  </a:lnTo>
                  <a:lnTo>
                    <a:pt x="1213" y="1355"/>
                  </a:lnTo>
                  <a:lnTo>
                    <a:pt x="1192" y="1362"/>
                  </a:lnTo>
                  <a:lnTo>
                    <a:pt x="1171" y="1368"/>
                  </a:lnTo>
                  <a:lnTo>
                    <a:pt x="1148" y="1371"/>
                  </a:lnTo>
                  <a:lnTo>
                    <a:pt x="1126" y="1373"/>
                  </a:lnTo>
                  <a:lnTo>
                    <a:pt x="1126" y="1373"/>
                  </a:lnTo>
                  <a:close/>
                </a:path>
              </a:pathLst>
            </a:custGeom>
            <a:solidFill>
              <a:srgbClr val="5E8CFF"/>
            </a:solidFill>
            <a:ln w="9525">
              <a:noFill/>
              <a:prstDash val="sysDash"/>
              <a:miter lim="800000"/>
              <a:headEnd/>
              <a:tailEnd/>
            </a:ln>
          </p:spPr>
          <p:txBody>
            <a:bodyPr lIns="18288" tIns="18288" rIns="18288" bIns="18288" anchor="ctr" anchorCtr="1"/>
            <a:lstStyle/>
            <a:p>
              <a:pPr algn="ctr" defTabSz="1218987">
                <a:lnSpc>
                  <a:spcPct val="85000"/>
                </a:lnSpc>
                <a:spcBef>
                  <a:spcPct val="20000"/>
                </a:spcBef>
              </a:pPr>
              <a:endParaRPr lang="en-US" sz="1600" b="1" dirty="0">
                <a:solidFill>
                  <a:srgbClr val="FFFFFF"/>
                </a:solidFill>
                <a:latin typeface="Arial Narrow" pitchFamily="112" charset="0"/>
              </a:endParaRPr>
            </a:p>
          </p:txBody>
        </p:sp>
        <p:sp>
          <p:nvSpPr>
            <p:cNvPr id="1764" name="Freeform 7"/>
            <p:cNvSpPr>
              <a:spLocks/>
            </p:cNvSpPr>
            <p:nvPr/>
          </p:nvSpPr>
          <p:spPr bwMode="auto">
            <a:xfrm>
              <a:off x="9116330" y="2677811"/>
              <a:ext cx="740518" cy="293988"/>
            </a:xfrm>
            <a:custGeom>
              <a:avLst/>
              <a:gdLst/>
              <a:ahLst/>
              <a:cxnLst>
                <a:cxn ang="0">
                  <a:pos x="3430" y="953"/>
                </a:cxn>
                <a:cxn ang="0">
                  <a:pos x="3321" y="797"/>
                </a:cxn>
                <a:cxn ang="0">
                  <a:pos x="3197" y="652"/>
                </a:cxn>
                <a:cxn ang="0">
                  <a:pos x="3062" y="518"/>
                </a:cxn>
                <a:cxn ang="0">
                  <a:pos x="2914" y="399"/>
                </a:cxn>
                <a:cxn ang="0">
                  <a:pos x="2755" y="293"/>
                </a:cxn>
                <a:cxn ang="0">
                  <a:pos x="2587" y="202"/>
                </a:cxn>
                <a:cxn ang="0">
                  <a:pos x="2411" y="127"/>
                </a:cxn>
                <a:cxn ang="0">
                  <a:pos x="2225" y="68"/>
                </a:cxn>
                <a:cxn ang="0">
                  <a:pos x="2034" y="27"/>
                </a:cxn>
                <a:cxn ang="0">
                  <a:pos x="1835" y="4"/>
                </a:cxn>
                <a:cxn ang="0">
                  <a:pos x="1699" y="0"/>
                </a:cxn>
                <a:cxn ang="0">
                  <a:pos x="1503" y="9"/>
                </a:cxn>
                <a:cxn ang="0">
                  <a:pos x="1312" y="37"/>
                </a:cxn>
                <a:cxn ang="0">
                  <a:pos x="1126" y="81"/>
                </a:cxn>
                <a:cxn ang="0">
                  <a:pos x="948" y="143"/>
                </a:cxn>
                <a:cxn ang="0">
                  <a:pos x="777" y="219"/>
                </a:cxn>
                <a:cxn ang="0">
                  <a:pos x="615" y="311"/>
                </a:cxn>
                <a:cxn ang="0">
                  <a:pos x="464" y="415"/>
                </a:cxn>
                <a:cxn ang="0">
                  <a:pos x="321" y="535"/>
                </a:cxn>
                <a:cxn ang="0">
                  <a:pos x="191" y="664"/>
                </a:cxn>
                <a:cxn ang="0">
                  <a:pos x="72" y="807"/>
                </a:cxn>
                <a:cxn ang="0">
                  <a:pos x="385" y="897"/>
                </a:cxn>
                <a:cxn ang="0">
                  <a:pos x="599" y="1237"/>
                </a:cxn>
                <a:cxn ang="0">
                  <a:pos x="676" y="1141"/>
                </a:cxn>
                <a:cxn ang="0">
                  <a:pos x="761" y="1055"/>
                </a:cxn>
                <a:cxn ang="0">
                  <a:pos x="852" y="975"/>
                </a:cxn>
                <a:cxn ang="0">
                  <a:pos x="951" y="904"/>
                </a:cxn>
                <a:cxn ang="0">
                  <a:pos x="1056" y="841"/>
                </a:cxn>
                <a:cxn ang="0">
                  <a:pos x="1168" y="788"/>
                </a:cxn>
                <a:cxn ang="0">
                  <a:pos x="1282" y="745"/>
                </a:cxn>
                <a:cxn ang="0">
                  <a:pos x="1403" y="713"/>
                </a:cxn>
                <a:cxn ang="0">
                  <a:pos x="1528" y="691"/>
                </a:cxn>
                <a:cxn ang="0">
                  <a:pos x="1657" y="680"/>
                </a:cxn>
                <a:cxn ang="0">
                  <a:pos x="1743" y="680"/>
                </a:cxn>
                <a:cxn ang="0">
                  <a:pos x="1875" y="691"/>
                </a:cxn>
                <a:cxn ang="0">
                  <a:pos x="2001" y="713"/>
                </a:cxn>
                <a:cxn ang="0">
                  <a:pos x="2123" y="747"/>
                </a:cxn>
                <a:cxn ang="0">
                  <a:pos x="2240" y="791"/>
                </a:cxn>
                <a:cxn ang="0">
                  <a:pos x="2353" y="845"/>
                </a:cxn>
                <a:cxn ang="0">
                  <a:pos x="2458" y="910"/>
                </a:cxn>
                <a:cxn ang="0">
                  <a:pos x="2558" y="984"/>
                </a:cxn>
                <a:cxn ang="0">
                  <a:pos x="2651" y="1065"/>
                </a:cxn>
                <a:cxn ang="0">
                  <a:pos x="2735" y="1155"/>
                </a:cxn>
                <a:cxn ang="0">
                  <a:pos x="2811" y="1252"/>
                </a:cxn>
                <a:cxn ang="0">
                  <a:pos x="2636" y="1402"/>
                </a:cxn>
                <a:cxn ang="0">
                  <a:pos x="3624" y="844"/>
                </a:cxn>
              </a:cxnLst>
              <a:rect l="0" t="0" r="r" b="b"/>
              <a:pathLst>
                <a:path w="3626" h="1438">
                  <a:moveTo>
                    <a:pt x="3624" y="844"/>
                  </a:moveTo>
                  <a:lnTo>
                    <a:pt x="3430" y="953"/>
                  </a:lnTo>
                  <a:lnTo>
                    <a:pt x="3430" y="953"/>
                  </a:lnTo>
                  <a:lnTo>
                    <a:pt x="3395" y="900"/>
                  </a:lnTo>
                  <a:lnTo>
                    <a:pt x="3358" y="847"/>
                  </a:lnTo>
                  <a:lnTo>
                    <a:pt x="3321" y="797"/>
                  </a:lnTo>
                  <a:lnTo>
                    <a:pt x="3281" y="747"/>
                  </a:lnTo>
                  <a:lnTo>
                    <a:pt x="3240" y="698"/>
                  </a:lnTo>
                  <a:lnTo>
                    <a:pt x="3197" y="652"/>
                  </a:lnTo>
                  <a:lnTo>
                    <a:pt x="3153" y="607"/>
                  </a:lnTo>
                  <a:lnTo>
                    <a:pt x="3109" y="563"/>
                  </a:lnTo>
                  <a:lnTo>
                    <a:pt x="3062" y="518"/>
                  </a:lnTo>
                  <a:lnTo>
                    <a:pt x="3013" y="477"/>
                  </a:lnTo>
                  <a:lnTo>
                    <a:pt x="2964" y="437"/>
                  </a:lnTo>
                  <a:lnTo>
                    <a:pt x="2914" y="399"/>
                  </a:lnTo>
                  <a:lnTo>
                    <a:pt x="2863" y="362"/>
                  </a:lnTo>
                  <a:lnTo>
                    <a:pt x="2810" y="327"/>
                  </a:lnTo>
                  <a:lnTo>
                    <a:pt x="2755" y="293"/>
                  </a:lnTo>
                  <a:lnTo>
                    <a:pt x="2701" y="261"/>
                  </a:lnTo>
                  <a:lnTo>
                    <a:pt x="2645" y="231"/>
                  </a:lnTo>
                  <a:lnTo>
                    <a:pt x="2587" y="202"/>
                  </a:lnTo>
                  <a:lnTo>
                    <a:pt x="2530" y="175"/>
                  </a:lnTo>
                  <a:lnTo>
                    <a:pt x="2471" y="150"/>
                  </a:lnTo>
                  <a:lnTo>
                    <a:pt x="2411" y="127"/>
                  </a:lnTo>
                  <a:lnTo>
                    <a:pt x="2350" y="105"/>
                  </a:lnTo>
                  <a:lnTo>
                    <a:pt x="2288" y="85"/>
                  </a:lnTo>
                  <a:lnTo>
                    <a:pt x="2225" y="68"/>
                  </a:lnTo>
                  <a:lnTo>
                    <a:pt x="2162" y="52"/>
                  </a:lnTo>
                  <a:lnTo>
                    <a:pt x="2098" y="38"/>
                  </a:lnTo>
                  <a:lnTo>
                    <a:pt x="2034" y="27"/>
                  </a:lnTo>
                  <a:lnTo>
                    <a:pt x="1967" y="16"/>
                  </a:lnTo>
                  <a:lnTo>
                    <a:pt x="1903" y="9"/>
                  </a:lnTo>
                  <a:lnTo>
                    <a:pt x="1835" y="4"/>
                  </a:lnTo>
                  <a:lnTo>
                    <a:pt x="1768" y="0"/>
                  </a:lnTo>
                  <a:lnTo>
                    <a:pt x="1699" y="0"/>
                  </a:lnTo>
                  <a:lnTo>
                    <a:pt x="1699" y="0"/>
                  </a:lnTo>
                  <a:lnTo>
                    <a:pt x="1634" y="0"/>
                  </a:lnTo>
                  <a:lnTo>
                    <a:pt x="1568" y="3"/>
                  </a:lnTo>
                  <a:lnTo>
                    <a:pt x="1503" y="9"/>
                  </a:lnTo>
                  <a:lnTo>
                    <a:pt x="1439" y="16"/>
                  </a:lnTo>
                  <a:lnTo>
                    <a:pt x="1375" y="25"/>
                  </a:lnTo>
                  <a:lnTo>
                    <a:pt x="1312" y="37"/>
                  </a:lnTo>
                  <a:lnTo>
                    <a:pt x="1250" y="49"/>
                  </a:lnTo>
                  <a:lnTo>
                    <a:pt x="1188" y="65"/>
                  </a:lnTo>
                  <a:lnTo>
                    <a:pt x="1126" y="81"/>
                  </a:lnTo>
                  <a:lnTo>
                    <a:pt x="1066" y="100"/>
                  </a:lnTo>
                  <a:lnTo>
                    <a:pt x="1007" y="121"/>
                  </a:lnTo>
                  <a:lnTo>
                    <a:pt x="948" y="143"/>
                  </a:lnTo>
                  <a:lnTo>
                    <a:pt x="891" y="166"/>
                  </a:lnTo>
                  <a:lnTo>
                    <a:pt x="833" y="191"/>
                  </a:lnTo>
                  <a:lnTo>
                    <a:pt x="777" y="219"/>
                  </a:lnTo>
                  <a:lnTo>
                    <a:pt x="723" y="247"/>
                  </a:lnTo>
                  <a:lnTo>
                    <a:pt x="668" y="278"/>
                  </a:lnTo>
                  <a:lnTo>
                    <a:pt x="615" y="311"/>
                  </a:lnTo>
                  <a:lnTo>
                    <a:pt x="564" y="345"/>
                  </a:lnTo>
                  <a:lnTo>
                    <a:pt x="514" y="380"/>
                  </a:lnTo>
                  <a:lnTo>
                    <a:pt x="464" y="415"/>
                  </a:lnTo>
                  <a:lnTo>
                    <a:pt x="415" y="454"/>
                  </a:lnTo>
                  <a:lnTo>
                    <a:pt x="368" y="493"/>
                  </a:lnTo>
                  <a:lnTo>
                    <a:pt x="321" y="535"/>
                  </a:lnTo>
                  <a:lnTo>
                    <a:pt x="276" y="576"/>
                  </a:lnTo>
                  <a:lnTo>
                    <a:pt x="232" y="620"/>
                  </a:lnTo>
                  <a:lnTo>
                    <a:pt x="191" y="664"/>
                  </a:lnTo>
                  <a:lnTo>
                    <a:pt x="150" y="711"/>
                  </a:lnTo>
                  <a:lnTo>
                    <a:pt x="110" y="759"/>
                  </a:lnTo>
                  <a:lnTo>
                    <a:pt x="72" y="807"/>
                  </a:lnTo>
                  <a:lnTo>
                    <a:pt x="35" y="856"/>
                  </a:lnTo>
                  <a:lnTo>
                    <a:pt x="0" y="907"/>
                  </a:lnTo>
                  <a:lnTo>
                    <a:pt x="385" y="897"/>
                  </a:lnTo>
                  <a:lnTo>
                    <a:pt x="575" y="1270"/>
                  </a:lnTo>
                  <a:lnTo>
                    <a:pt x="575" y="1270"/>
                  </a:lnTo>
                  <a:lnTo>
                    <a:pt x="599" y="1237"/>
                  </a:lnTo>
                  <a:lnTo>
                    <a:pt x="624" y="1205"/>
                  </a:lnTo>
                  <a:lnTo>
                    <a:pt x="649" y="1172"/>
                  </a:lnTo>
                  <a:lnTo>
                    <a:pt x="676" y="1141"/>
                  </a:lnTo>
                  <a:lnTo>
                    <a:pt x="704" y="1112"/>
                  </a:lnTo>
                  <a:lnTo>
                    <a:pt x="732" y="1083"/>
                  </a:lnTo>
                  <a:lnTo>
                    <a:pt x="761" y="1055"/>
                  </a:lnTo>
                  <a:lnTo>
                    <a:pt x="791" y="1028"/>
                  </a:lnTo>
                  <a:lnTo>
                    <a:pt x="821" y="1000"/>
                  </a:lnTo>
                  <a:lnTo>
                    <a:pt x="852" y="975"/>
                  </a:lnTo>
                  <a:lnTo>
                    <a:pt x="885" y="950"/>
                  </a:lnTo>
                  <a:lnTo>
                    <a:pt x="917" y="926"/>
                  </a:lnTo>
                  <a:lnTo>
                    <a:pt x="951" y="904"/>
                  </a:lnTo>
                  <a:lnTo>
                    <a:pt x="985" y="882"/>
                  </a:lnTo>
                  <a:lnTo>
                    <a:pt x="1020" y="862"/>
                  </a:lnTo>
                  <a:lnTo>
                    <a:pt x="1056" y="841"/>
                  </a:lnTo>
                  <a:lnTo>
                    <a:pt x="1092" y="822"/>
                  </a:lnTo>
                  <a:lnTo>
                    <a:pt x="1129" y="804"/>
                  </a:lnTo>
                  <a:lnTo>
                    <a:pt x="1168" y="788"/>
                  </a:lnTo>
                  <a:lnTo>
                    <a:pt x="1204" y="773"/>
                  </a:lnTo>
                  <a:lnTo>
                    <a:pt x="1244" y="759"/>
                  </a:lnTo>
                  <a:lnTo>
                    <a:pt x="1282" y="745"/>
                  </a:lnTo>
                  <a:lnTo>
                    <a:pt x="1322" y="734"/>
                  </a:lnTo>
                  <a:lnTo>
                    <a:pt x="1363" y="722"/>
                  </a:lnTo>
                  <a:lnTo>
                    <a:pt x="1403" y="713"/>
                  </a:lnTo>
                  <a:lnTo>
                    <a:pt x="1444" y="704"/>
                  </a:lnTo>
                  <a:lnTo>
                    <a:pt x="1486" y="697"/>
                  </a:lnTo>
                  <a:lnTo>
                    <a:pt x="1528" y="691"/>
                  </a:lnTo>
                  <a:lnTo>
                    <a:pt x="1571" y="686"/>
                  </a:lnTo>
                  <a:lnTo>
                    <a:pt x="1614" y="682"/>
                  </a:lnTo>
                  <a:lnTo>
                    <a:pt x="1657" y="680"/>
                  </a:lnTo>
                  <a:lnTo>
                    <a:pt x="1699" y="680"/>
                  </a:lnTo>
                  <a:lnTo>
                    <a:pt x="1699" y="680"/>
                  </a:lnTo>
                  <a:lnTo>
                    <a:pt x="1743" y="680"/>
                  </a:lnTo>
                  <a:lnTo>
                    <a:pt x="1788" y="682"/>
                  </a:lnTo>
                  <a:lnTo>
                    <a:pt x="1832" y="686"/>
                  </a:lnTo>
                  <a:lnTo>
                    <a:pt x="1875" y="691"/>
                  </a:lnTo>
                  <a:lnTo>
                    <a:pt x="1917" y="697"/>
                  </a:lnTo>
                  <a:lnTo>
                    <a:pt x="1958" y="704"/>
                  </a:lnTo>
                  <a:lnTo>
                    <a:pt x="2001" y="713"/>
                  </a:lnTo>
                  <a:lnTo>
                    <a:pt x="2042" y="723"/>
                  </a:lnTo>
                  <a:lnTo>
                    <a:pt x="2082" y="735"/>
                  </a:lnTo>
                  <a:lnTo>
                    <a:pt x="2123" y="747"/>
                  </a:lnTo>
                  <a:lnTo>
                    <a:pt x="2163" y="760"/>
                  </a:lnTo>
                  <a:lnTo>
                    <a:pt x="2202" y="775"/>
                  </a:lnTo>
                  <a:lnTo>
                    <a:pt x="2240" y="791"/>
                  </a:lnTo>
                  <a:lnTo>
                    <a:pt x="2278" y="809"/>
                  </a:lnTo>
                  <a:lnTo>
                    <a:pt x="2316" y="826"/>
                  </a:lnTo>
                  <a:lnTo>
                    <a:pt x="2353" y="845"/>
                  </a:lnTo>
                  <a:lnTo>
                    <a:pt x="2389" y="866"/>
                  </a:lnTo>
                  <a:lnTo>
                    <a:pt x="2424" y="888"/>
                  </a:lnTo>
                  <a:lnTo>
                    <a:pt x="2458" y="910"/>
                  </a:lnTo>
                  <a:lnTo>
                    <a:pt x="2493" y="934"/>
                  </a:lnTo>
                  <a:lnTo>
                    <a:pt x="2526" y="959"/>
                  </a:lnTo>
                  <a:lnTo>
                    <a:pt x="2558" y="984"/>
                  </a:lnTo>
                  <a:lnTo>
                    <a:pt x="2589" y="1010"/>
                  </a:lnTo>
                  <a:lnTo>
                    <a:pt x="2620" y="1037"/>
                  </a:lnTo>
                  <a:lnTo>
                    <a:pt x="2651" y="1065"/>
                  </a:lnTo>
                  <a:lnTo>
                    <a:pt x="2680" y="1094"/>
                  </a:lnTo>
                  <a:lnTo>
                    <a:pt x="2708" y="1124"/>
                  </a:lnTo>
                  <a:lnTo>
                    <a:pt x="2735" y="1155"/>
                  </a:lnTo>
                  <a:lnTo>
                    <a:pt x="2761" y="1187"/>
                  </a:lnTo>
                  <a:lnTo>
                    <a:pt x="2786" y="1220"/>
                  </a:lnTo>
                  <a:lnTo>
                    <a:pt x="2811" y="1252"/>
                  </a:lnTo>
                  <a:lnTo>
                    <a:pt x="2835" y="1286"/>
                  </a:lnTo>
                  <a:lnTo>
                    <a:pt x="2635" y="1399"/>
                  </a:lnTo>
                  <a:lnTo>
                    <a:pt x="2636" y="1402"/>
                  </a:lnTo>
                  <a:lnTo>
                    <a:pt x="3306" y="1438"/>
                  </a:lnTo>
                  <a:lnTo>
                    <a:pt x="3626" y="847"/>
                  </a:lnTo>
                  <a:lnTo>
                    <a:pt x="3624" y="84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765" name="Right Arrow 176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509007">
            <a:off x="5508435" y="1055194"/>
            <a:ext cx="994697" cy="301620"/>
          </a:xfrm>
          <a:prstGeom prst="rightArrow">
            <a:avLst>
              <a:gd name="adj1" fmla="val 50000"/>
              <a:gd name="adj2" fmla="val 33176"/>
            </a:avLst>
          </a:prstGeom>
          <a:solidFill>
            <a:srgbClr val="FFFFFF">
              <a:alpha val="6549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1218987"/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66" name="Right Arrow 176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323668">
            <a:off x="6212171" y="3204684"/>
            <a:ext cx="1063909" cy="301620"/>
          </a:xfrm>
          <a:prstGeom prst="rightArrow">
            <a:avLst>
              <a:gd name="adj1" fmla="val 50000"/>
              <a:gd name="adj2" fmla="val 33176"/>
            </a:avLst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1218987"/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72" name="Rounded Rectangle 177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553289">
            <a:off x="4564788" y="2235697"/>
            <a:ext cx="3987243" cy="381000"/>
          </a:xfrm>
          <a:prstGeom prst="roundRect">
            <a:avLst>
              <a:gd name="adj" fmla="val 50000"/>
            </a:avLst>
          </a:prstGeom>
          <a:noFill/>
          <a:ln w="38100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73" name="Oval 177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54869" y="3405554"/>
            <a:ext cx="462336" cy="462336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  <a:scene3d>
            <a:camera prst="orthographicFront"/>
            <a:lightRig rig="threePt" dir="t"/>
          </a:scene3d>
          <a:sp3d>
            <a:bevelT w="44450" prst="angle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8987"/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4" name="Group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rot="21099772">
            <a:off x="8841548" y="4430386"/>
            <a:ext cx="1104442" cy="1124077"/>
            <a:chOff x="8997798" y="4210876"/>
            <a:chExt cx="1243863" cy="1265976"/>
          </a:xfrm>
        </p:grpSpPr>
        <p:sp>
          <p:nvSpPr>
            <p:cNvPr id="1760" name="Freeform 7"/>
            <p:cNvSpPr>
              <a:spLocks noEditPoints="1"/>
            </p:cNvSpPr>
            <p:nvPr/>
          </p:nvSpPr>
          <p:spPr bwMode="auto">
            <a:xfrm rot="21414773">
              <a:off x="8997798" y="4210876"/>
              <a:ext cx="1243863" cy="1265976"/>
            </a:xfrm>
            <a:custGeom>
              <a:avLst/>
              <a:gdLst>
                <a:gd name="T0" fmla="*/ 1975 w 2250"/>
                <a:gd name="T1" fmla="*/ 1188 h 2291"/>
                <a:gd name="T2" fmla="*/ 1942 w 2250"/>
                <a:gd name="T3" fmla="*/ 1107 h 2291"/>
                <a:gd name="T4" fmla="*/ 1954 w 2250"/>
                <a:gd name="T5" fmla="*/ 959 h 2291"/>
                <a:gd name="T6" fmla="*/ 2202 w 2250"/>
                <a:gd name="T7" fmla="*/ 806 h 2291"/>
                <a:gd name="T8" fmla="*/ 2146 w 2250"/>
                <a:gd name="T9" fmla="*/ 632 h 2291"/>
                <a:gd name="T10" fmla="*/ 1979 w 2250"/>
                <a:gd name="T11" fmla="*/ 641 h 2291"/>
                <a:gd name="T12" fmla="*/ 1799 w 2250"/>
                <a:gd name="T13" fmla="*/ 673 h 2291"/>
                <a:gd name="T14" fmla="*/ 1695 w 2250"/>
                <a:gd name="T15" fmla="*/ 553 h 2291"/>
                <a:gd name="T16" fmla="*/ 1751 w 2250"/>
                <a:gd name="T17" fmla="*/ 374 h 2291"/>
                <a:gd name="T18" fmla="*/ 1723 w 2250"/>
                <a:gd name="T19" fmla="*/ 169 h 2291"/>
                <a:gd name="T20" fmla="*/ 1615 w 2250"/>
                <a:gd name="T21" fmla="*/ 132 h 2291"/>
                <a:gd name="T22" fmla="*/ 1430 w 2250"/>
                <a:gd name="T23" fmla="*/ 351 h 2291"/>
                <a:gd name="T24" fmla="*/ 1234 w 2250"/>
                <a:gd name="T25" fmla="*/ 326 h 2291"/>
                <a:gd name="T26" fmla="*/ 1182 w 2250"/>
                <a:gd name="T27" fmla="*/ 152 h 2291"/>
                <a:gd name="T28" fmla="*/ 1075 w 2250"/>
                <a:gd name="T29" fmla="*/ 0 h 2291"/>
                <a:gd name="T30" fmla="*/ 929 w 2250"/>
                <a:gd name="T31" fmla="*/ 37 h 2291"/>
                <a:gd name="T32" fmla="*/ 904 w 2250"/>
                <a:gd name="T33" fmla="*/ 334 h 2291"/>
                <a:gd name="T34" fmla="*/ 762 w 2250"/>
                <a:gd name="T35" fmla="*/ 407 h 2291"/>
                <a:gd name="T36" fmla="*/ 695 w 2250"/>
                <a:gd name="T37" fmla="*/ 407 h 2291"/>
                <a:gd name="T38" fmla="*/ 479 w 2250"/>
                <a:gd name="T39" fmla="*/ 219 h 2291"/>
                <a:gd name="T40" fmla="*/ 321 w 2250"/>
                <a:gd name="T41" fmla="*/ 334 h 2291"/>
                <a:gd name="T42" fmla="*/ 463 w 2250"/>
                <a:gd name="T43" fmla="*/ 595 h 2291"/>
                <a:gd name="T44" fmla="*/ 428 w 2250"/>
                <a:gd name="T45" fmla="*/ 713 h 2291"/>
                <a:gd name="T46" fmla="*/ 339 w 2250"/>
                <a:gd name="T47" fmla="*/ 797 h 2291"/>
                <a:gd name="T48" fmla="*/ 58 w 2250"/>
                <a:gd name="T49" fmla="*/ 777 h 2291"/>
                <a:gd name="T50" fmla="*/ 15 w 2250"/>
                <a:gd name="T51" fmla="*/ 985 h 2291"/>
                <a:gd name="T52" fmla="*/ 283 w 2250"/>
                <a:gd name="T53" fmla="*/ 1095 h 2291"/>
                <a:gd name="T54" fmla="*/ 309 w 2250"/>
                <a:gd name="T55" fmla="*/ 1188 h 2291"/>
                <a:gd name="T56" fmla="*/ 289 w 2250"/>
                <a:gd name="T57" fmla="*/ 1325 h 2291"/>
                <a:gd name="T58" fmla="*/ 45 w 2250"/>
                <a:gd name="T59" fmla="*/ 1481 h 2291"/>
                <a:gd name="T60" fmla="*/ 111 w 2250"/>
                <a:gd name="T61" fmla="*/ 1657 h 2291"/>
                <a:gd name="T62" fmla="*/ 320 w 2250"/>
                <a:gd name="T63" fmla="*/ 1626 h 2291"/>
                <a:gd name="T64" fmla="*/ 462 w 2250"/>
                <a:gd name="T65" fmla="*/ 1617 h 2291"/>
                <a:gd name="T66" fmla="*/ 562 w 2250"/>
                <a:gd name="T67" fmla="*/ 1741 h 2291"/>
                <a:gd name="T68" fmla="*/ 481 w 2250"/>
                <a:gd name="T69" fmla="*/ 1951 h 2291"/>
                <a:gd name="T70" fmla="*/ 577 w 2250"/>
                <a:gd name="T71" fmla="*/ 2139 h 2291"/>
                <a:gd name="T72" fmla="*/ 728 w 2250"/>
                <a:gd name="T73" fmla="*/ 2044 h 2291"/>
                <a:gd name="T74" fmla="*/ 852 w 2250"/>
                <a:gd name="T75" fmla="*/ 1914 h 2291"/>
                <a:gd name="T76" fmla="*/ 1035 w 2250"/>
                <a:gd name="T77" fmla="*/ 1973 h 2291"/>
                <a:gd name="T78" fmla="*/ 1092 w 2250"/>
                <a:gd name="T79" fmla="*/ 2219 h 2291"/>
                <a:gd name="T80" fmla="*/ 1208 w 2250"/>
                <a:gd name="T81" fmla="*/ 2278 h 2291"/>
                <a:gd name="T82" fmla="*/ 1321 w 2250"/>
                <a:gd name="T83" fmla="*/ 2243 h 2291"/>
                <a:gd name="T84" fmla="*/ 1343 w 2250"/>
                <a:gd name="T85" fmla="*/ 1953 h 2291"/>
                <a:gd name="T86" fmla="*/ 1488 w 2250"/>
                <a:gd name="T87" fmla="*/ 1873 h 2291"/>
                <a:gd name="T88" fmla="*/ 1559 w 2250"/>
                <a:gd name="T89" fmla="*/ 1879 h 2291"/>
                <a:gd name="T90" fmla="*/ 1784 w 2250"/>
                <a:gd name="T91" fmla="*/ 2062 h 2291"/>
                <a:gd name="T92" fmla="*/ 1923 w 2250"/>
                <a:gd name="T93" fmla="*/ 1954 h 2291"/>
                <a:gd name="T94" fmla="*/ 1837 w 2250"/>
                <a:gd name="T95" fmla="*/ 1756 h 2291"/>
                <a:gd name="T96" fmla="*/ 1784 w 2250"/>
                <a:gd name="T97" fmla="*/ 1624 h 2291"/>
                <a:gd name="T98" fmla="*/ 1895 w 2250"/>
                <a:gd name="T99" fmla="*/ 1482 h 2291"/>
                <a:gd name="T100" fmla="*/ 2185 w 2250"/>
                <a:gd name="T101" fmla="*/ 1506 h 2291"/>
                <a:gd name="T102" fmla="*/ 2242 w 2250"/>
                <a:gd name="T103" fmla="*/ 1300 h 2291"/>
                <a:gd name="T104" fmla="*/ 998 w 2250"/>
                <a:gd name="T105" fmla="*/ 1334 h 2291"/>
                <a:gd name="T106" fmla="*/ 898 w 2250"/>
                <a:gd name="T107" fmla="*/ 1145 h 2291"/>
                <a:gd name="T108" fmla="*/ 1016 w 2250"/>
                <a:gd name="T109" fmla="*/ 945 h 2291"/>
                <a:gd name="T110" fmla="*/ 1234 w 2250"/>
                <a:gd name="T111" fmla="*/ 945 h 2291"/>
                <a:gd name="T112" fmla="*/ 1352 w 2250"/>
                <a:gd name="T113" fmla="*/ 1145 h 2291"/>
                <a:gd name="T114" fmla="*/ 1253 w 2250"/>
                <a:gd name="T115" fmla="*/ 1334 h 2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50" h="2291">
                  <a:moveTo>
                    <a:pt x="2235" y="1294"/>
                  </a:moveTo>
                  <a:lnTo>
                    <a:pt x="2235" y="1294"/>
                  </a:lnTo>
                  <a:lnTo>
                    <a:pt x="2195" y="1275"/>
                  </a:lnTo>
                  <a:lnTo>
                    <a:pt x="2155" y="1257"/>
                  </a:lnTo>
                  <a:lnTo>
                    <a:pt x="2109" y="1238"/>
                  </a:lnTo>
                  <a:lnTo>
                    <a:pt x="2109" y="1238"/>
                  </a:lnTo>
                  <a:lnTo>
                    <a:pt x="2062" y="1219"/>
                  </a:lnTo>
                  <a:lnTo>
                    <a:pt x="2022" y="1204"/>
                  </a:lnTo>
                  <a:lnTo>
                    <a:pt x="1980" y="1191"/>
                  </a:lnTo>
                  <a:lnTo>
                    <a:pt x="1980" y="1191"/>
                  </a:lnTo>
                  <a:lnTo>
                    <a:pt x="1975" y="1188"/>
                  </a:lnTo>
                  <a:lnTo>
                    <a:pt x="1967" y="1183"/>
                  </a:lnTo>
                  <a:lnTo>
                    <a:pt x="1960" y="1179"/>
                  </a:lnTo>
                  <a:lnTo>
                    <a:pt x="1954" y="1173"/>
                  </a:lnTo>
                  <a:lnTo>
                    <a:pt x="1949" y="1167"/>
                  </a:lnTo>
                  <a:lnTo>
                    <a:pt x="1945" y="1160"/>
                  </a:lnTo>
                  <a:lnTo>
                    <a:pt x="1943" y="1152"/>
                  </a:lnTo>
                  <a:lnTo>
                    <a:pt x="1942" y="1144"/>
                  </a:lnTo>
                  <a:lnTo>
                    <a:pt x="1942" y="1121"/>
                  </a:lnTo>
                  <a:lnTo>
                    <a:pt x="1942" y="1121"/>
                  </a:lnTo>
                  <a:lnTo>
                    <a:pt x="1942" y="1107"/>
                  </a:lnTo>
                  <a:lnTo>
                    <a:pt x="1942" y="1107"/>
                  </a:lnTo>
                  <a:lnTo>
                    <a:pt x="1942" y="1092"/>
                  </a:lnTo>
                  <a:lnTo>
                    <a:pt x="1941" y="1077"/>
                  </a:lnTo>
                  <a:lnTo>
                    <a:pt x="1932" y="1007"/>
                  </a:lnTo>
                  <a:lnTo>
                    <a:pt x="1932" y="1007"/>
                  </a:lnTo>
                  <a:lnTo>
                    <a:pt x="1932" y="1000"/>
                  </a:lnTo>
                  <a:lnTo>
                    <a:pt x="1932" y="993"/>
                  </a:lnTo>
                  <a:lnTo>
                    <a:pt x="1935" y="985"/>
                  </a:lnTo>
                  <a:lnTo>
                    <a:pt x="1938" y="978"/>
                  </a:lnTo>
                  <a:lnTo>
                    <a:pt x="1942" y="970"/>
                  </a:lnTo>
                  <a:lnTo>
                    <a:pt x="1948" y="965"/>
                  </a:lnTo>
                  <a:lnTo>
                    <a:pt x="1954" y="959"/>
                  </a:lnTo>
                  <a:lnTo>
                    <a:pt x="1961" y="954"/>
                  </a:lnTo>
                  <a:lnTo>
                    <a:pt x="1961" y="954"/>
                  </a:lnTo>
                  <a:lnTo>
                    <a:pt x="2000" y="935"/>
                  </a:lnTo>
                  <a:lnTo>
                    <a:pt x="2038" y="914"/>
                  </a:lnTo>
                  <a:lnTo>
                    <a:pt x="2081" y="889"/>
                  </a:lnTo>
                  <a:lnTo>
                    <a:pt x="2081" y="889"/>
                  </a:lnTo>
                  <a:lnTo>
                    <a:pt x="2122" y="864"/>
                  </a:lnTo>
                  <a:lnTo>
                    <a:pt x="2161" y="837"/>
                  </a:lnTo>
                  <a:lnTo>
                    <a:pt x="2196" y="812"/>
                  </a:lnTo>
                  <a:lnTo>
                    <a:pt x="2196" y="812"/>
                  </a:lnTo>
                  <a:lnTo>
                    <a:pt x="2202" y="806"/>
                  </a:lnTo>
                  <a:lnTo>
                    <a:pt x="2205" y="797"/>
                  </a:lnTo>
                  <a:lnTo>
                    <a:pt x="2207" y="787"/>
                  </a:lnTo>
                  <a:lnTo>
                    <a:pt x="2205" y="777"/>
                  </a:lnTo>
                  <a:lnTo>
                    <a:pt x="2205" y="777"/>
                  </a:lnTo>
                  <a:lnTo>
                    <a:pt x="2198" y="753"/>
                  </a:lnTo>
                  <a:lnTo>
                    <a:pt x="2189" y="729"/>
                  </a:lnTo>
                  <a:lnTo>
                    <a:pt x="2179" y="704"/>
                  </a:lnTo>
                  <a:lnTo>
                    <a:pt x="2156" y="652"/>
                  </a:lnTo>
                  <a:lnTo>
                    <a:pt x="2156" y="652"/>
                  </a:lnTo>
                  <a:lnTo>
                    <a:pt x="2152" y="642"/>
                  </a:lnTo>
                  <a:lnTo>
                    <a:pt x="2146" y="632"/>
                  </a:lnTo>
                  <a:lnTo>
                    <a:pt x="2146" y="632"/>
                  </a:lnTo>
                  <a:lnTo>
                    <a:pt x="2139" y="623"/>
                  </a:lnTo>
                  <a:lnTo>
                    <a:pt x="2131" y="617"/>
                  </a:lnTo>
                  <a:lnTo>
                    <a:pt x="2121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114" y="612"/>
                  </a:lnTo>
                  <a:lnTo>
                    <a:pt x="2071" y="620"/>
                  </a:lnTo>
                  <a:lnTo>
                    <a:pt x="2028" y="629"/>
                  </a:lnTo>
                  <a:lnTo>
                    <a:pt x="1979" y="641"/>
                  </a:lnTo>
                  <a:lnTo>
                    <a:pt x="1979" y="641"/>
                  </a:lnTo>
                  <a:lnTo>
                    <a:pt x="1930" y="652"/>
                  </a:lnTo>
                  <a:lnTo>
                    <a:pt x="1889" y="666"/>
                  </a:lnTo>
                  <a:lnTo>
                    <a:pt x="1847" y="679"/>
                  </a:lnTo>
                  <a:lnTo>
                    <a:pt x="1847" y="679"/>
                  </a:lnTo>
                  <a:lnTo>
                    <a:pt x="1838" y="681"/>
                  </a:lnTo>
                  <a:lnTo>
                    <a:pt x="1830" y="682"/>
                  </a:lnTo>
                  <a:lnTo>
                    <a:pt x="1821" y="682"/>
                  </a:lnTo>
                  <a:lnTo>
                    <a:pt x="1813" y="679"/>
                  </a:lnTo>
                  <a:lnTo>
                    <a:pt x="1806" y="676"/>
                  </a:lnTo>
                  <a:lnTo>
                    <a:pt x="1799" y="673"/>
                  </a:lnTo>
                  <a:lnTo>
                    <a:pt x="1793" y="667"/>
                  </a:lnTo>
                  <a:lnTo>
                    <a:pt x="1788" y="663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81" y="651"/>
                  </a:lnTo>
                  <a:lnTo>
                    <a:pt x="1745" y="610"/>
                  </a:lnTo>
                  <a:lnTo>
                    <a:pt x="1710" y="568"/>
                  </a:lnTo>
                  <a:lnTo>
                    <a:pt x="1710" y="568"/>
                  </a:lnTo>
                  <a:lnTo>
                    <a:pt x="1699" y="559"/>
                  </a:lnTo>
                  <a:lnTo>
                    <a:pt x="1699" y="559"/>
                  </a:lnTo>
                  <a:lnTo>
                    <a:pt x="1695" y="553"/>
                  </a:lnTo>
                  <a:lnTo>
                    <a:pt x="1691" y="546"/>
                  </a:lnTo>
                  <a:lnTo>
                    <a:pt x="1689" y="539"/>
                  </a:lnTo>
                  <a:lnTo>
                    <a:pt x="1688" y="531"/>
                  </a:lnTo>
                  <a:lnTo>
                    <a:pt x="1688" y="522"/>
                  </a:lnTo>
                  <a:lnTo>
                    <a:pt x="1688" y="513"/>
                  </a:lnTo>
                  <a:lnTo>
                    <a:pt x="1691" y="506"/>
                  </a:lnTo>
                  <a:lnTo>
                    <a:pt x="1694" y="497"/>
                  </a:lnTo>
                  <a:lnTo>
                    <a:pt x="1694" y="497"/>
                  </a:lnTo>
                  <a:lnTo>
                    <a:pt x="1713" y="459"/>
                  </a:lnTo>
                  <a:lnTo>
                    <a:pt x="1731" y="420"/>
                  </a:lnTo>
                  <a:lnTo>
                    <a:pt x="1751" y="374"/>
                  </a:lnTo>
                  <a:lnTo>
                    <a:pt x="1751" y="374"/>
                  </a:lnTo>
                  <a:lnTo>
                    <a:pt x="1770" y="328"/>
                  </a:lnTo>
                  <a:lnTo>
                    <a:pt x="1785" y="287"/>
                  </a:lnTo>
                  <a:lnTo>
                    <a:pt x="1800" y="246"/>
                  </a:lnTo>
                  <a:lnTo>
                    <a:pt x="1800" y="246"/>
                  </a:lnTo>
                  <a:lnTo>
                    <a:pt x="1802" y="237"/>
                  </a:lnTo>
                  <a:lnTo>
                    <a:pt x="1799" y="228"/>
                  </a:lnTo>
                  <a:lnTo>
                    <a:pt x="1794" y="219"/>
                  </a:lnTo>
                  <a:lnTo>
                    <a:pt x="1791" y="215"/>
                  </a:lnTo>
                  <a:lnTo>
                    <a:pt x="1787" y="212"/>
                  </a:lnTo>
                  <a:lnTo>
                    <a:pt x="1723" y="169"/>
                  </a:lnTo>
                  <a:lnTo>
                    <a:pt x="1731" y="157"/>
                  </a:lnTo>
                  <a:lnTo>
                    <a:pt x="1722" y="167"/>
                  </a:lnTo>
                  <a:lnTo>
                    <a:pt x="1722" y="167"/>
                  </a:lnTo>
                  <a:lnTo>
                    <a:pt x="1697" y="152"/>
                  </a:lnTo>
                  <a:lnTo>
                    <a:pt x="1652" y="129"/>
                  </a:lnTo>
                  <a:lnTo>
                    <a:pt x="1652" y="129"/>
                  </a:lnTo>
                  <a:lnTo>
                    <a:pt x="1642" y="126"/>
                  </a:lnTo>
                  <a:lnTo>
                    <a:pt x="1631" y="124"/>
                  </a:lnTo>
                  <a:lnTo>
                    <a:pt x="1623" y="127"/>
                  </a:lnTo>
                  <a:lnTo>
                    <a:pt x="1618" y="129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615" y="132"/>
                  </a:lnTo>
                  <a:lnTo>
                    <a:pt x="1578" y="170"/>
                  </a:lnTo>
                  <a:lnTo>
                    <a:pt x="1552" y="201"/>
                  </a:lnTo>
                  <a:lnTo>
                    <a:pt x="1522" y="234"/>
                  </a:lnTo>
                  <a:lnTo>
                    <a:pt x="1522" y="234"/>
                  </a:lnTo>
                  <a:lnTo>
                    <a:pt x="1491" y="274"/>
                  </a:lnTo>
                  <a:lnTo>
                    <a:pt x="1464" y="308"/>
                  </a:lnTo>
                  <a:lnTo>
                    <a:pt x="1439" y="342"/>
                  </a:lnTo>
                  <a:lnTo>
                    <a:pt x="1439" y="342"/>
                  </a:lnTo>
                  <a:lnTo>
                    <a:pt x="1430" y="351"/>
                  </a:lnTo>
                  <a:lnTo>
                    <a:pt x="1421" y="357"/>
                  </a:lnTo>
                  <a:lnTo>
                    <a:pt x="1411" y="362"/>
                  </a:lnTo>
                  <a:lnTo>
                    <a:pt x="1401" y="364"/>
                  </a:lnTo>
                  <a:lnTo>
                    <a:pt x="1401" y="364"/>
                  </a:lnTo>
                  <a:lnTo>
                    <a:pt x="1392" y="365"/>
                  </a:lnTo>
                  <a:lnTo>
                    <a:pt x="1383" y="364"/>
                  </a:lnTo>
                  <a:lnTo>
                    <a:pt x="1315" y="345"/>
                  </a:lnTo>
                  <a:lnTo>
                    <a:pt x="1248" y="331"/>
                  </a:lnTo>
                  <a:lnTo>
                    <a:pt x="1248" y="331"/>
                  </a:lnTo>
                  <a:lnTo>
                    <a:pt x="1241" y="328"/>
                  </a:lnTo>
                  <a:lnTo>
                    <a:pt x="1234" y="326"/>
                  </a:lnTo>
                  <a:lnTo>
                    <a:pt x="1226" y="321"/>
                  </a:lnTo>
                  <a:lnTo>
                    <a:pt x="1222" y="315"/>
                  </a:lnTo>
                  <a:lnTo>
                    <a:pt x="1216" y="309"/>
                  </a:lnTo>
                  <a:lnTo>
                    <a:pt x="1211" y="302"/>
                  </a:lnTo>
                  <a:lnTo>
                    <a:pt x="1208" y="294"/>
                  </a:lnTo>
                  <a:lnTo>
                    <a:pt x="1207" y="287"/>
                  </a:lnTo>
                  <a:lnTo>
                    <a:pt x="1207" y="287"/>
                  </a:lnTo>
                  <a:lnTo>
                    <a:pt x="1201" y="244"/>
                  </a:lnTo>
                  <a:lnTo>
                    <a:pt x="1192" y="201"/>
                  </a:lnTo>
                  <a:lnTo>
                    <a:pt x="1182" y="152"/>
                  </a:lnTo>
                  <a:lnTo>
                    <a:pt x="1182" y="152"/>
                  </a:lnTo>
                  <a:lnTo>
                    <a:pt x="1170" y="104"/>
                  </a:lnTo>
                  <a:lnTo>
                    <a:pt x="1158" y="61"/>
                  </a:lnTo>
                  <a:lnTo>
                    <a:pt x="1145" y="19"/>
                  </a:lnTo>
                  <a:lnTo>
                    <a:pt x="1145" y="19"/>
                  </a:lnTo>
                  <a:lnTo>
                    <a:pt x="1142" y="12"/>
                  </a:lnTo>
                  <a:lnTo>
                    <a:pt x="1135" y="6"/>
                  </a:lnTo>
                  <a:lnTo>
                    <a:pt x="1126" y="2"/>
                  </a:lnTo>
                  <a:lnTo>
                    <a:pt x="1114" y="0"/>
                  </a:lnTo>
                  <a:lnTo>
                    <a:pt x="1090" y="0"/>
                  </a:lnTo>
                  <a:lnTo>
                    <a:pt x="1090" y="0"/>
                  </a:lnTo>
                  <a:lnTo>
                    <a:pt x="1075" y="0"/>
                  </a:lnTo>
                  <a:lnTo>
                    <a:pt x="1075" y="0"/>
                  </a:lnTo>
                  <a:lnTo>
                    <a:pt x="1056" y="2"/>
                  </a:lnTo>
                  <a:lnTo>
                    <a:pt x="1037" y="3"/>
                  </a:lnTo>
                  <a:lnTo>
                    <a:pt x="956" y="12"/>
                  </a:lnTo>
                  <a:lnTo>
                    <a:pt x="956" y="12"/>
                  </a:lnTo>
                  <a:lnTo>
                    <a:pt x="951" y="13"/>
                  </a:lnTo>
                  <a:lnTo>
                    <a:pt x="947" y="15"/>
                  </a:lnTo>
                  <a:lnTo>
                    <a:pt x="938" y="21"/>
                  </a:lnTo>
                  <a:lnTo>
                    <a:pt x="932" y="28"/>
                  </a:lnTo>
                  <a:lnTo>
                    <a:pt x="929" y="37"/>
                  </a:lnTo>
                  <a:lnTo>
                    <a:pt x="929" y="37"/>
                  </a:lnTo>
                  <a:lnTo>
                    <a:pt x="923" y="80"/>
                  </a:lnTo>
                  <a:lnTo>
                    <a:pt x="919" y="124"/>
                  </a:lnTo>
                  <a:lnTo>
                    <a:pt x="914" y="173"/>
                  </a:lnTo>
                  <a:lnTo>
                    <a:pt x="914" y="173"/>
                  </a:lnTo>
                  <a:lnTo>
                    <a:pt x="911" y="229"/>
                  </a:lnTo>
                  <a:lnTo>
                    <a:pt x="910" y="266"/>
                  </a:lnTo>
                  <a:lnTo>
                    <a:pt x="910" y="309"/>
                  </a:lnTo>
                  <a:lnTo>
                    <a:pt x="910" y="309"/>
                  </a:lnTo>
                  <a:lnTo>
                    <a:pt x="910" y="318"/>
                  </a:lnTo>
                  <a:lnTo>
                    <a:pt x="907" y="327"/>
                  </a:lnTo>
                  <a:lnTo>
                    <a:pt x="904" y="334"/>
                  </a:lnTo>
                  <a:lnTo>
                    <a:pt x="901" y="342"/>
                  </a:lnTo>
                  <a:lnTo>
                    <a:pt x="895" y="349"/>
                  </a:lnTo>
                  <a:lnTo>
                    <a:pt x="890" y="354"/>
                  </a:lnTo>
                  <a:lnTo>
                    <a:pt x="883" y="358"/>
                  </a:lnTo>
                  <a:lnTo>
                    <a:pt x="877" y="361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62" y="365"/>
                  </a:lnTo>
                  <a:lnTo>
                    <a:pt x="812" y="385"/>
                  </a:lnTo>
                  <a:lnTo>
                    <a:pt x="762" y="407"/>
                  </a:lnTo>
                  <a:lnTo>
                    <a:pt x="762" y="407"/>
                  </a:lnTo>
                  <a:lnTo>
                    <a:pt x="751" y="413"/>
                  </a:lnTo>
                  <a:lnTo>
                    <a:pt x="751" y="413"/>
                  </a:lnTo>
                  <a:lnTo>
                    <a:pt x="744" y="416"/>
                  </a:lnTo>
                  <a:lnTo>
                    <a:pt x="738" y="417"/>
                  </a:lnTo>
                  <a:lnTo>
                    <a:pt x="731" y="419"/>
                  </a:lnTo>
                  <a:lnTo>
                    <a:pt x="723" y="417"/>
                  </a:lnTo>
                  <a:lnTo>
                    <a:pt x="716" y="416"/>
                  </a:lnTo>
                  <a:lnTo>
                    <a:pt x="710" y="414"/>
                  </a:lnTo>
                  <a:lnTo>
                    <a:pt x="703" y="411"/>
                  </a:lnTo>
                  <a:lnTo>
                    <a:pt x="697" y="407"/>
                  </a:lnTo>
                  <a:lnTo>
                    <a:pt x="695" y="407"/>
                  </a:lnTo>
                  <a:lnTo>
                    <a:pt x="689" y="401"/>
                  </a:lnTo>
                  <a:lnTo>
                    <a:pt x="689" y="401"/>
                  </a:lnTo>
                  <a:lnTo>
                    <a:pt x="651" y="362"/>
                  </a:lnTo>
                  <a:lnTo>
                    <a:pt x="623" y="336"/>
                  </a:lnTo>
                  <a:lnTo>
                    <a:pt x="590" y="308"/>
                  </a:lnTo>
                  <a:lnTo>
                    <a:pt x="590" y="308"/>
                  </a:lnTo>
                  <a:lnTo>
                    <a:pt x="553" y="275"/>
                  </a:lnTo>
                  <a:lnTo>
                    <a:pt x="518" y="249"/>
                  </a:lnTo>
                  <a:lnTo>
                    <a:pt x="484" y="222"/>
                  </a:lnTo>
                  <a:lnTo>
                    <a:pt x="484" y="222"/>
                  </a:lnTo>
                  <a:lnTo>
                    <a:pt x="479" y="219"/>
                  </a:lnTo>
                  <a:lnTo>
                    <a:pt x="475" y="218"/>
                  </a:lnTo>
                  <a:lnTo>
                    <a:pt x="466" y="218"/>
                  </a:lnTo>
                  <a:lnTo>
                    <a:pt x="456" y="219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17" y="247"/>
                  </a:lnTo>
                  <a:lnTo>
                    <a:pt x="388" y="271"/>
                  </a:lnTo>
                  <a:lnTo>
                    <a:pt x="355" y="297"/>
                  </a:lnTo>
                  <a:lnTo>
                    <a:pt x="327" y="327"/>
                  </a:lnTo>
                  <a:lnTo>
                    <a:pt x="327" y="327"/>
                  </a:lnTo>
                  <a:lnTo>
                    <a:pt x="321" y="334"/>
                  </a:lnTo>
                  <a:lnTo>
                    <a:pt x="317" y="345"/>
                  </a:lnTo>
                  <a:lnTo>
                    <a:pt x="317" y="355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39" y="401"/>
                  </a:lnTo>
                  <a:lnTo>
                    <a:pt x="361" y="439"/>
                  </a:lnTo>
                  <a:lnTo>
                    <a:pt x="386" y="482"/>
                  </a:lnTo>
                  <a:lnTo>
                    <a:pt x="386" y="482"/>
                  </a:lnTo>
                  <a:lnTo>
                    <a:pt x="414" y="524"/>
                  </a:lnTo>
                  <a:lnTo>
                    <a:pt x="438" y="561"/>
                  </a:lnTo>
                  <a:lnTo>
                    <a:pt x="463" y="595"/>
                  </a:lnTo>
                  <a:lnTo>
                    <a:pt x="463" y="595"/>
                  </a:lnTo>
                  <a:lnTo>
                    <a:pt x="467" y="602"/>
                  </a:lnTo>
                  <a:lnTo>
                    <a:pt x="470" y="610"/>
                  </a:lnTo>
                  <a:lnTo>
                    <a:pt x="473" y="618"/>
                  </a:lnTo>
                  <a:lnTo>
                    <a:pt x="473" y="626"/>
                  </a:lnTo>
                  <a:lnTo>
                    <a:pt x="473" y="635"/>
                  </a:lnTo>
                  <a:lnTo>
                    <a:pt x="472" y="642"/>
                  </a:lnTo>
                  <a:lnTo>
                    <a:pt x="469" y="649"/>
                  </a:lnTo>
                  <a:lnTo>
                    <a:pt x="466" y="655"/>
                  </a:lnTo>
                  <a:lnTo>
                    <a:pt x="428" y="713"/>
                  </a:lnTo>
                  <a:lnTo>
                    <a:pt x="428" y="713"/>
                  </a:lnTo>
                  <a:lnTo>
                    <a:pt x="405" y="753"/>
                  </a:lnTo>
                  <a:lnTo>
                    <a:pt x="395" y="772"/>
                  </a:lnTo>
                  <a:lnTo>
                    <a:pt x="395" y="772"/>
                  </a:lnTo>
                  <a:lnTo>
                    <a:pt x="391" y="778"/>
                  </a:lnTo>
                  <a:lnTo>
                    <a:pt x="385" y="784"/>
                  </a:lnTo>
                  <a:lnTo>
                    <a:pt x="379" y="789"/>
                  </a:lnTo>
                  <a:lnTo>
                    <a:pt x="371" y="793"/>
                  </a:lnTo>
                  <a:lnTo>
                    <a:pt x="364" y="796"/>
                  </a:lnTo>
                  <a:lnTo>
                    <a:pt x="355" y="797"/>
                  </a:lnTo>
                  <a:lnTo>
                    <a:pt x="348" y="797"/>
                  </a:lnTo>
                  <a:lnTo>
                    <a:pt x="339" y="797"/>
                  </a:lnTo>
                  <a:lnTo>
                    <a:pt x="339" y="797"/>
                  </a:lnTo>
                  <a:lnTo>
                    <a:pt x="297" y="791"/>
                  </a:lnTo>
                  <a:lnTo>
                    <a:pt x="255" y="786"/>
                  </a:lnTo>
                  <a:lnTo>
                    <a:pt x="204" y="781"/>
                  </a:lnTo>
                  <a:lnTo>
                    <a:pt x="204" y="781"/>
                  </a:lnTo>
                  <a:lnTo>
                    <a:pt x="154" y="777"/>
                  </a:lnTo>
                  <a:lnTo>
                    <a:pt x="110" y="775"/>
                  </a:lnTo>
                  <a:lnTo>
                    <a:pt x="65" y="774"/>
                  </a:lnTo>
                  <a:lnTo>
                    <a:pt x="65" y="774"/>
                  </a:lnTo>
                  <a:lnTo>
                    <a:pt x="61" y="775"/>
                  </a:lnTo>
                  <a:lnTo>
                    <a:pt x="58" y="777"/>
                  </a:lnTo>
                  <a:lnTo>
                    <a:pt x="49" y="781"/>
                  </a:lnTo>
                  <a:lnTo>
                    <a:pt x="43" y="789"/>
                  </a:lnTo>
                  <a:lnTo>
                    <a:pt x="39" y="797"/>
                  </a:lnTo>
                  <a:lnTo>
                    <a:pt x="16" y="874"/>
                  </a:lnTo>
                  <a:lnTo>
                    <a:pt x="2" y="951"/>
                  </a:lnTo>
                  <a:lnTo>
                    <a:pt x="2" y="951"/>
                  </a:lnTo>
                  <a:lnTo>
                    <a:pt x="0" y="962"/>
                  </a:lnTo>
                  <a:lnTo>
                    <a:pt x="3" y="972"/>
                  </a:lnTo>
                  <a:lnTo>
                    <a:pt x="9" y="979"/>
                  </a:lnTo>
                  <a:lnTo>
                    <a:pt x="12" y="982"/>
                  </a:lnTo>
                  <a:lnTo>
                    <a:pt x="15" y="985"/>
                  </a:lnTo>
                  <a:lnTo>
                    <a:pt x="15" y="985"/>
                  </a:lnTo>
                  <a:lnTo>
                    <a:pt x="55" y="1004"/>
                  </a:lnTo>
                  <a:lnTo>
                    <a:pt x="95" y="1022"/>
                  </a:lnTo>
                  <a:lnTo>
                    <a:pt x="142" y="1041"/>
                  </a:lnTo>
                  <a:lnTo>
                    <a:pt x="142" y="1041"/>
                  </a:lnTo>
                  <a:lnTo>
                    <a:pt x="188" y="1061"/>
                  </a:lnTo>
                  <a:lnTo>
                    <a:pt x="229" y="1075"/>
                  </a:lnTo>
                  <a:lnTo>
                    <a:pt x="269" y="1089"/>
                  </a:lnTo>
                  <a:lnTo>
                    <a:pt x="269" y="1089"/>
                  </a:lnTo>
                  <a:lnTo>
                    <a:pt x="277" y="1092"/>
                  </a:lnTo>
                  <a:lnTo>
                    <a:pt x="283" y="1095"/>
                  </a:lnTo>
                  <a:lnTo>
                    <a:pt x="290" y="1101"/>
                  </a:lnTo>
                  <a:lnTo>
                    <a:pt x="296" y="1107"/>
                  </a:lnTo>
                  <a:lnTo>
                    <a:pt x="300" y="1112"/>
                  </a:lnTo>
                  <a:lnTo>
                    <a:pt x="305" y="1120"/>
                  </a:lnTo>
                  <a:lnTo>
                    <a:pt x="308" y="1127"/>
                  </a:lnTo>
                  <a:lnTo>
                    <a:pt x="308" y="1136"/>
                  </a:lnTo>
                  <a:lnTo>
                    <a:pt x="308" y="1157"/>
                  </a:lnTo>
                  <a:lnTo>
                    <a:pt x="308" y="1157"/>
                  </a:lnTo>
                  <a:lnTo>
                    <a:pt x="309" y="1173"/>
                  </a:lnTo>
                  <a:lnTo>
                    <a:pt x="309" y="1173"/>
                  </a:lnTo>
                  <a:lnTo>
                    <a:pt x="309" y="1188"/>
                  </a:lnTo>
                  <a:lnTo>
                    <a:pt x="309" y="1203"/>
                  </a:lnTo>
                  <a:lnTo>
                    <a:pt x="318" y="1272"/>
                  </a:lnTo>
                  <a:lnTo>
                    <a:pt x="318" y="1272"/>
                  </a:lnTo>
                  <a:lnTo>
                    <a:pt x="318" y="1280"/>
                  </a:lnTo>
                  <a:lnTo>
                    <a:pt x="318" y="1287"/>
                  </a:lnTo>
                  <a:lnTo>
                    <a:pt x="317" y="1294"/>
                  </a:lnTo>
                  <a:lnTo>
                    <a:pt x="312" y="1302"/>
                  </a:lnTo>
                  <a:lnTo>
                    <a:pt x="308" y="1308"/>
                  </a:lnTo>
                  <a:lnTo>
                    <a:pt x="302" y="1315"/>
                  </a:lnTo>
                  <a:lnTo>
                    <a:pt x="296" y="1320"/>
                  </a:lnTo>
                  <a:lnTo>
                    <a:pt x="289" y="1325"/>
                  </a:lnTo>
                  <a:lnTo>
                    <a:pt x="289" y="1325"/>
                  </a:lnTo>
                  <a:lnTo>
                    <a:pt x="250" y="1345"/>
                  </a:lnTo>
                  <a:lnTo>
                    <a:pt x="212" y="1365"/>
                  </a:lnTo>
                  <a:lnTo>
                    <a:pt x="169" y="1391"/>
                  </a:lnTo>
                  <a:lnTo>
                    <a:pt x="169" y="1391"/>
                  </a:lnTo>
                  <a:lnTo>
                    <a:pt x="127" y="1416"/>
                  </a:lnTo>
                  <a:lnTo>
                    <a:pt x="89" y="1442"/>
                  </a:lnTo>
                  <a:lnTo>
                    <a:pt x="53" y="1466"/>
                  </a:lnTo>
                  <a:lnTo>
                    <a:pt x="53" y="1466"/>
                  </a:lnTo>
                  <a:lnTo>
                    <a:pt x="47" y="1473"/>
                  </a:lnTo>
                  <a:lnTo>
                    <a:pt x="45" y="1481"/>
                  </a:lnTo>
                  <a:lnTo>
                    <a:pt x="43" y="1493"/>
                  </a:lnTo>
                  <a:lnTo>
                    <a:pt x="45" y="1503"/>
                  </a:lnTo>
                  <a:lnTo>
                    <a:pt x="56" y="1538"/>
                  </a:lnTo>
                  <a:lnTo>
                    <a:pt x="71" y="1572"/>
                  </a:lnTo>
                  <a:lnTo>
                    <a:pt x="58" y="1578"/>
                  </a:lnTo>
                  <a:lnTo>
                    <a:pt x="71" y="1572"/>
                  </a:lnTo>
                  <a:lnTo>
                    <a:pt x="71" y="1572"/>
                  </a:lnTo>
                  <a:lnTo>
                    <a:pt x="98" y="1636"/>
                  </a:lnTo>
                  <a:lnTo>
                    <a:pt x="105" y="1648"/>
                  </a:lnTo>
                  <a:lnTo>
                    <a:pt x="105" y="1648"/>
                  </a:lnTo>
                  <a:lnTo>
                    <a:pt x="111" y="1657"/>
                  </a:lnTo>
                  <a:lnTo>
                    <a:pt x="120" y="1663"/>
                  </a:lnTo>
                  <a:lnTo>
                    <a:pt x="129" y="1666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36" y="1667"/>
                  </a:lnTo>
                  <a:lnTo>
                    <a:pt x="181" y="1658"/>
                  </a:lnTo>
                  <a:lnTo>
                    <a:pt x="223" y="1651"/>
                  </a:lnTo>
                  <a:lnTo>
                    <a:pt x="271" y="1639"/>
                  </a:lnTo>
                  <a:lnTo>
                    <a:pt x="271" y="1639"/>
                  </a:lnTo>
                  <a:lnTo>
                    <a:pt x="320" y="1626"/>
                  </a:lnTo>
                  <a:lnTo>
                    <a:pt x="361" y="1614"/>
                  </a:lnTo>
                  <a:lnTo>
                    <a:pt x="402" y="1601"/>
                  </a:lnTo>
                  <a:lnTo>
                    <a:pt x="402" y="1601"/>
                  </a:lnTo>
                  <a:lnTo>
                    <a:pt x="411" y="1599"/>
                  </a:lnTo>
                  <a:lnTo>
                    <a:pt x="420" y="1598"/>
                  </a:lnTo>
                  <a:lnTo>
                    <a:pt x="429" y="1598"/>
                  </a:lnTo>
                  <a:lnTo>
                    <a:pt x="436" y="1601"/>
                  </a:lnTo>
                  <a:lnTo>
                    <a:pt x="444" y="1602"/>
                  </a:lnTo>
                  <a:lnTo>
                    <a:pt x="451" y="1606"/>
                  </a:lnTo>
                  <a:lnTo>
                    <a:pt x="457" y="1611"/>
                  </a:lnTo>
                  <a:lnTo>
                    <a:pt x="462" y="1617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469" y="1629"/>
                  </a:lnTo>
                  <a:lnTo>
                    <a:pt x="504" y="1670"/>
                  </a:lnTo>
                  <a:lnTo>
                    <a:pt x="540" y="1712"/>
                  </a:lnTo>
                  <a:lnTo>
                    <a:pt x="541" y="1710"/>
                  </a:lnTo>
                  <a:lnTo>
                    <a:pt x="550" y="1720"/>
                  </a:lnTo>
                  <a:lnTo>
                    <a:pt x="550" y="1720"/>
                  </a:lnTo>
                  <a:lnTo>
                    <a:pt x="555" y="1726"/>
                  </a:lnTo>
                  <a:lnTo>
                    <a:pt x="559" y="1734"/>
                  </a:lnTo>
                  <a:lnTo>
                    <a:pt x="562" y="1741"/>
                  </a:lnTo>
                  <a:lnTo>
                    <a:pt x="564" y="1749"/>
                  </a:lnTo>
                  <a:lnTo>
                    <a:pt x="564" y="1757"/>
                  </a:lnTo>
                  <a:lnTo>
                    <a:pt x="562" y="1766"/>
                  </a:lnTo>
                  <a:lnTo>
                    <a:pt x="561" y="1774"/>
                  </a:lnTo>
                  <a:lnTo>
                    <a:pt x="556" y="1783"/>
                  </a:lnTo>
                  <a:lnTo>
                    <a:pt x="556" y="1783"/>
                  </a:lnTo>
                  <a:lnTo>
                    <a:pt x="537" y="1821"/>
                  </a:lnTo>
                  <a:lnTo>
                    <a:pt x="519" y="1859"/>
                  </a:lnTo>
                  <a:lnTo>
                    <a:pt x="499" y="1905"/>
                  </a:lnTo>
                  <a:lnTo>
                    <a:pt x="499" y="1905"/>
                  </a:lnTo>
                  <a:lnTo>
                    <a:pt x="481" y="1951"/>
                  </a:lnTo>
                  <a:lnTo>
                    <a:pt x="465" y="1993"/>
                  </a:lnTo>
                  <a:lnTo>
                    <a:pt x="450" y="2034"/>
                  </a:lnTo>
                  <a:lnTo>
                    <a:pt x="450" y="2034"/>
                  </a:lnTo>
                  <a:lnTo>
                    <a:pt x="448" y="2043"/>
                  </a:lnTo>
                  <a:lnTo>
                    <a:pt x="451" y="2052"/>
                  </a:lnTo>
                  <a:lnTo>
                    <a:pt x="456" y="2061"/>
                  </a:lnTo>
                  <a:lnTo>
                    <a:pt x="459" y="2065"/>
                  </a:lnTo>
                  <a:lnTo>
                    <a:pt x="463" y="2068"/>
                  </a:lnTo>
                  <a:lnTo>
                    <a:pt x="530" y="2112"/>
                  </a:lnTo>
                  <a:lnTo>
                    <a:pt x="530" y="2112"/>
                  </a:lnTo>
                  <a:lnTo>
                    <a:pt x="577" y="2139"/>
                  </a:lnTo>
                  <a:lnTo>
                    <a:pt x="599" y="2151"/>
                  </a:lnTo>
                  <a:lnTo>
                    <a:pt x="599" y="2151"/>
                  </a:lnTo>
                  <a:lnTo>
                    <a:pt x="608" y="2154"/>
                  </a:lnTo>
                  <a:lnTo>
                    <a:pt x="618" y="2155"/>
                  </a:lnTo>
                  <a:lnTo>
                    <a:pt x="627" y="2152"/>
                  </a:lnTo>
                  <a:lnTo>
                    <a:pt x="632" y="2151"/>
                  </a:lnTo>
                  <a:lnTo>
                    <a:pt x="635" y="2148"/>
                  </a:lnTo>
                  <a:lnTo>
                    <a:pt x="635" y="2148"/>
                  </a:lnTo>
                  <a:lnTo>
                    <a:pt x="666" y="2115"/>
                  </a:lnTo>
                  <a:lnTo>
                    <a:pt x="695" y="2083"/>
                  </a:lnTo>
                  <a:lnTo>
                    <a:pt x="728" y="2044"/>
                  </a:lnTo>
                  <a:lnTo>
                    <a:pt x="728" y="2044"/>
                  </a:lnTo>
                  <a:lnTo>
                    <a:pt x="760" y="2006"/>
                  </a:lnTo>
                  <a:lnTo>
                    <a:pt x="785" y="1972"/>
                  </a:lnTo>
                  <a:lnTo>
                    <a:pt x="812" y="1938"/>
                  </a:lnTo>
                  <a:lnTo>
                    <a:pt x="812" y="1938"/>
                  </a:lnTo>
                  <a:lnTo>
                    <a:pt x="817" y="1932"/>
                  </a:lnTo>
                  <a:lnTo>
                    <a:pt x="822" y="1926"/>
                  </a:lnTo>
                  <a:lnTo>
                    <a:pt x="830" y="1922"/>
                  </a:lnTo>
                  <a:lnTo>
                    <a:pt x="837" y="1919"/>
                  </a:lnTo>
                  <a:lnTo>
                    <a:pt x="845" y="1916"/>
                  </a:lnTo>
                  <a:lnTo>
                    <a:pt x="852" y="1914"/>
                  </a:lnTo>
                  <a:lnTo>
                    <a:pt x="861" y="1914"/>
                  </a:lnTo>
                  <a:lnTo>
                    <a:pt x="868" y="1916"/>
                  </a:lnTo>
                  <a:lnTo>
                    <a:pt x="935" y="1935"/>
                  </a:lnTo>
                  <a:lnTo>
                    <a:pt x="1001" y="1948"/>
                  </a:lnTo>
                  <a:lnTo>
                    <a:pt x="1001" y="1948"/>
                  </a:lnTo>
                  <a:lnTo>
                    <a:pt x="1009" y="1950"/>
                  </a:lnTo>
                  <a:lnTo>
                    <a:pt x="1016" y="1953"/>
                  </a:lnTo>
                  <a:lnTo>
                    <a:pt x="1022" y="1957"/>
                  </a:lnTo>
                  <a:lnTo>
                    <a:pt x="1027" y="1962"/>
                  </a:lnTo>
                  <a:lnTo>
                    <a:pt x="1032" y="1967"/>
                  </a:lnTo>
                  <a:lnTo>
                    <a:pt x="1035" y="1973"/>
                  </a:lnTo>
                  <a:lnTo>
                    <a:pt x="1038" y="1979"/>
                  </a:lnTo>
                  <a:lnTo>
                    <a:pt x="1041" y="1987"/>
                  </a:lnTo>
                  <a:lnTo>
                    <a:pt x="1041" y="1987"/>
                  </a:lnTo>
                  <a:lnTo>
                    <a:pt x="1043" y="1994"/>
                  </a:lnTo>
                  <a:lnTo>
                    <a:pt x="1043" y="1994"/>
                  </a:lnTo>
                  <a:lnTo>
                    <a:pt x="1052" y="2047"/>
                  </a:lnTo>
                  <a:lnTo>
                    <a:pt x="1059" y="2086"/>
                  </a:lnTo>
                  <a:lnTo>
                    <a:pt x="1068" y="2127"/>
                  </a:lnTo>
                  <a:lnTo>
                    <a:pt x="1068" y="2127"/>
                  </a:lnTo>
                  <a:lnTo>
                    <a:pt x="1080" y="2176"/>
                  </a:lnTo>
                  <a:lnTo>
                    <a:pt x="1092" y="2219"/>
                  </a:lnTo>
                  <a:lnTo>
                    <a:pt x="1105" y="2260"/>
                  </a:lnTo>
                  <a:lnTo>
                    <a:pt x="1105" y="2260"/>
                  </a:lnTo>
                  <a:lnTo>
                    <a:pt x="1108" y="2268"/>
                  </a:lnTo>
                  <a:lnTo>
                    <a:pt x="1115" y="2274"/>
                  </a:lnTo>
                  <a:lnTo>
                    <a:pt x="1126" y="2278"/>
                  </a:lnTo>
                  <a:lnTo>
                    <a:pt x="1136" y="2280"/>
                  </a:lnTo>
                  <a:lnTo>
                    <a:pt x="1148" y="2280"/>
                  </a:lnTo>
                  <a:lnTo>
                    <a:pt x="1148" y="2280"/>
                  </a:lnTo>
                  <a:lnTo>
                    <a:pt x="1183" y="2280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08" y="2278"/>
                  </a:lnTo>
                  <a:lnTo>
                    <a:pt x="1211" y="2291"/>
                  </a:lnTo>
                  <a:lnTo>
                    <a:pt x="1211" y="2291"/>
                  </a:lnTo>
                  <a:lnTo>
                    <a:pt x="1210" y="2277"/>
                  </a:lnTo>
                  <a:lnTo>
                    <a:pt x="1294" y="2268"/>
                  </a:lnTo>
                  <a:lnTo>
                    <a:pt x="1294" y="2268"/>
                  </a:lnTo>
                  <a:lnTo>
                    <a:pt x="1299" y="2266"/>
                  </a:lnTo>
                  <a:lnTo>
                    <a:pt x="1303" y="2265"/>
                  </a:lnTo>
                  <a:lnTo>
                    <a:pt x="1312" y="2259"/>
                  </a:lnTo>
                  <a:lnTo>
                    <a:pt x="1318" y="2251"/>
                  </a:lnTo>
                  <a:lnTo>
                    <a:pt x="1321" y="2243"/>
                  </a:lnTo>
                  <a:lnTo>
                    <a:pt x="1321" y="2243"/>
                  </a:lnTo>
                  <a:lnTo>
                    <a:pt x="1327" y="2200"/>
                  </a:lnTo>
                  <a:lnTo>
                    <a:pt x="1331" y="2155"/>
                  </a:lnTo>
                  <a:lnTo>
                    <a:pt x="1336" y="2105"/>
                  </a:lnTo>
                  <a:lnTo>
                    <a:pt x="1336" y="2105"/>
                  </a:lnTo>
                  <a:lnTo>
                    <a:pt x="1339" y="2059"/>
                  </a:lnTo>
                  <a:lnTo>
                    <a:pt x="1340" y="2013"/>
                  </a:lnTo>
                  <a:lnTo>
                    <a:pt x="1340" y="1970"/>
                  </a:lnTo>
                  <a:lnTo>
                    <a:pt x="1340" y="1970"/>
                  </a:lnTo>
                  <a:lnTo>
                    <a:pt x="1342" y="1962"/>
                  </a:lnTo>
                  <a:lnTo>
                    <a:pt x="1343" y="1953"/>
                  </a:lnTo>
                  <a:lnTo>
                    <a:pt x="1346" y="1945"/>
                  </a:lnTo>
                  <a:lnTo>
                    <a:pt x="1350" y="1938"/>
                  </a:lnTo>
                  <a:lnTo>
                    <a:pt x="1355" y="1930"/>
                  </a:lnTo>
                  <a:lnTo>
                    <a:pt x="1361" y="1926"/>
                  </a:lnTo>
                  <a:lnTo>
                    <a:pt x="1367" y="1922"/>
                  </a:lnTo>
                  <a:lnTo>
                    <a:pt x="1374" y="1919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387" y="1914"/>
                  </a:lnTo>
                  <a:lnTo>
                    <a:pt x="1438" y="1893"/>
                  </a:lnTo>
                  <a:lnTo>
                    <a:pt x="1488" y="1873"/>
                  </a:lnTo>
                  <a:lnTo>
                    <a:pt x="1488" y="1873"/>
                  </a:lnTo>
                  <a:lnTo>
                    <a:pt x="1500" y="1865"/>
                  </a:lnTo>
                  <a:lnTo>
                    <a:pt x="1500" y="1865"/>
                  </a:lnTo>
                  <a:lnTo>
                    <a:pt x="1506" y="1864"/>
                  </a:lnTo>
                  <a:lnTo>
                    <a:pt x="1513" y="1861"/>
                  </a:lnTo>
                  <a:lnTo>
                    <a:pt x="1522" y="1861"/>
                  </a:lnTo>
                  <a:lnTo>
                    <a:pt x="1529" y="1862"/>
                  </a:lnTo>
                  <a:lnTo>
                    <a:pt x="1538" y="1864"/>
                  </a:lnTo>
                  <a:lnTo>
                    <a:pt x="1546" y="1868"/>
                  </a:lnTo>
                  <a:lnTo>
                    <a:pt x="1553" y="1873"/>
                  </a:lnTo>
                  <a:lnTo>
                    <a:pt x="1559" y="1879"/>
                  </a:lnTo>
                  <a:lnTo>
                    <a:pt x="1559" y="1879"/>
                  </a:lnTo>
                  <a:lnTo>
                    <a:pt x="1590" y="1908"/>
                  </a:lnTo>
                  <a:lnTo>
                    <a:pt x="1623" y="1939"/>
                  </a:lnTo>
                  <a:lnTo>
                    <a:pt x="1660" y="1972"/>
                  </a:lnTo>
                  <a:lnTo>
                    <a:pt x="1660" y="1972"/>
                  </a:lnTo>
                  <a:lnTo>
                    <a:pt x="1698" y="2004"/>
                  </a:lnTo>
                  <a:lnTo>
                    <a:pt x="1732" y="2031"/>
                  </a:lnTo>
                  <a:lnTo>
                    <a:pt x="1766" y="2058"/>
                  </a:lnTo>
                  <a:lnTo>
                    <a:pt x="1766" y="2058"/>
                  </a:lnTo>
                  <a:lnTo>
                    <a:pt x="1775" y="2061"/>
                  </a:lnTo>
                  <a:lnTo>
                    <a:pt x="1784" y="2062"/>
                  </a:lnTo>
                  <a:lnTo>
                    <a:pt x="1794" y="2061"/>
                  </a:lnTo>
                  <a:lnTo>
                    <a:pt x="1800" y="2059"/>
                  </a:lnTo>
                  <a:lnTo>
                    <a:pt x="1804" y="2056"/>
                  </a:lnTo>
                  <a:lnTo>
                    <a:pt x="1804" y="2056"/>
                  </a:lnTo>
                  <a:lnTo>
                    <a:pt x="1824" y="2041"/>
                  </a:lnTo>
                  <a:lnTo>
                    <a:pt x="1865" y="2006"/>
                  </a:lnTo>
                  <a:lnTo>
                    <a:pt x="1865" y="2006"/>
                  </a:lnTo>
                  <a:lnTo>
                    <a:pt x="1887" y="1988"/>
                  </a:lnTo>
                  <a:lnTo>
                    <a:pt x="1905" y="1970"/>
                  </a:lnTo>
                  <a:lnTo>
                    <a:pt x="1923" y="1954"/>
                  </a:lnTo>
                  <a:lnTo>
                    <a:pt x="1923" y="1954"/>
                  </a:lnTo>
                  <a:lnTo>
                    <a:pt x="1927" y="1950"/>
                  </a:lnTo>
                  <a:lnTo>
                    <a:pt x="1930" y="1945"/>
                  </a:lnTo>
                  <a:lnTo>
                    <a:pt x="1933" y="1935"/>
                  </a:lnTo>
                  <a:lnTo>
                    <a:pt x="1933" y="1925"/>
                  </a:lnTo>
                  <a:lnTo>
                    <a:pt x="1932" y="1917"/>
                  </a:lnTo>
                  <a:lnTo>
                    <a:pt x="1932" y="1917"/>
                  </a:lnTo>
                  <a:lnTo>
                    <a:pt x="1911" y="1879"/>
                  </a:lnTo>
                  <a:lnTo>
                    <a:pt x="1890" y="1840"/>
                  </a:lnTo>
                  <a:lnTo>
                    <a:pt x="1864" y="1797"/>
                  </a:lnTo>
                  <a:lnTo>
                    <a:pt x="1864" y="1797"/>
                  </a:lnTo>
                  <a:lnTo>
                    <a:pt x="1837" y="1756"/>
                  </a:lnTo>
                  <a:lnTo>
                    <a:pt x="1812" y="1719"/>
                  </a:lnTo>
                  <a:lnTo>
                    <a:pt x="1787" y="1685"/>
                  </a:lnTo>
                  <a:lnTo>
                    <a:pt x="1787" y="1685"/>
                  </a:lnTo>
                  <a:lnTo>
                    <a:pt x="1782" y="1677"/>
                  </a:lnTo>
                  <a:lnTo>
                    <a:pt x="1779" y="1670"/>
                  </a:lnTo>
                  <a:lnTo>
                    <a:pt x="1776" y="1661"/>
                  </a:lnTo>
                  <a:lnTo>
                    <a:pt x="1776" y="1654"/>
                  </a:lnTo>
                  <a:lnTo>
                    <a:pt x="1776" y="1645"/>
                  </a:lnTo>
                  <a:lnTo>
                    <a:pt x="1778" y="1638"/>
                  </a:lnTo>
                  <a:lnTo>
                    <a:pt x="1781" y="1630"/>
                  </a:lnTo>
                  <a:lnTo>
                    <a:pt x="1784" y="1624"/>
                  </a:lnTo>
                  <a:lnTo>
                    <a:pt x="1822" y="1567"/>
                  </a:lnTo>
                  <a:lnTo>
                    <a:pt x="1822" y="1567"/>
                  </a:lnTo>
                  <a:lnTo>
                    <a:pt x="1844" y="1527"/>
                  </a:lnTo>
                  <a:lnTo>
                    <a:pt x="1855" y="1507"/>
                  </a:lnTo>
                  <a:lnTo>
                    <a:pt x="1855" y="1507"/>
                  </a:lnTo>
                  <a:lnTo>
                    <a:pt x="1859" y="1501"/>
                  </a:lnTo>
                  <a:lnTo>
                    <a:pt x="1865" y="1496"/>
                  </a:lnTo>
                  <a:lnTo>
                    <a:pt x="1871" y="1491"/>
                  </a:lnTo>
                  <a:lnTo>
                    <a:pt x="1878" y="1487"/>
                  </a:lnTo>
                  <a:lnTo>
                    <a:pt x="1886" y="1484"/>
                  </a:lnTo>
                  <a:lnTo>
                    <a:pt x="1895" y="1482"/>
                  </a:lnTo>
                  <a:lnTo>
                    <a:pt x="1902" y="1481"/>
                  </a:lnTo>
                  <a:lnTo>
                    <a:pt x="1911" y="1482"/>
                  </a:lnTo>
                  <a:lnTo>
                    <a:pt x="1911" y="1482"/>
                  </a:lnTo>
                  <a:lnTo>
                    <a:pt x="1954" y="1488"/>
                  </a:lnTo>
                  <a:lnTo>
                    <a:pt x="1997" y="1494"/>
                  </a:lnTo>
                  <a:lnTo>
                    <a:pt x="2046" y="1499"/>
                  </a:lnTo>
                  <a:lnTo>
                    <a:pt x="2046" y="1499"/>
                  </a:lnTo>
                  <a:lnTo>
                    <a:pt x="2096" y="1503"/>
                  </a:lnTo>
                  <a:lnTo>
                    <a:pt x="2140" y="1504"/>
                  </a:lnTo>
                  <a:lnTo>
                    <a:pt x="2185" y="1506"/>
                  </a:lnTo>
                  <a:lnTo>
                    <a:pt x="2185" y="1506"/>
                  </a:lnTo>
                  <a:lnTo>
                    <a:pt x="2189" y="1504"/>
                  </a:lnTo>
                  <a:lnTo>
                    <a:pt x="2193" y="1503"/>
                  </a:lnTo>
                  <a:lnTo>
                    <a:pt x="2201" y="1499"/>
                  </a:lnTo>
                  <a:lnTo>
                    <a:pt x="2208" y="1491"/>
                  </a:lnTo>
                  <a:lnTo>
                    <a:pt x="2213" y="1482"/>
                  </a:lnTo>
                  <a:lnTo>
                    <a:pt x="2233" y="1410"/>
                  </a:lnTo>
                  <a:lnTo>
                    <a:pt x="2250" y="1328"/>
                  </a:lnTo>
                  <a:lnTo>
                    <a:pt x="2250" y="1328"/>
                  </a:lnTo>
                  <a:lnTo>
                    <a:pt x="2250" y="1318"/>
                  </a:lnTo>
                  <a:lnTo>
                    <a:pt x="2247" y="1308"/>
                  </a:lnTo>
                  <a:lnTo>
                    <a:pt x="2242" y="1300"/>
                  </a:lnTo>
                  <a:lnTo>
                    <a:pt x="2239" y="1297"/>
                  </a:lnTo>
                  <a:lnTo>
                    <a:pt x="2235" y="1294"/>
                  </a:lnTo>
                  <a:lnTo>
                    <a:pt x="2235" y="1294"/>
                  </a:lnTo>
                  <a:close/>
                  <a:moveTo>
                    <a:pt x="1126" y="1373"/>
                  </a:moveTo>
                  <a:lnTo>
                    <a:pt x="1126" y="1373"/>
                  </a:lnTo>
                  <a:lnTo>
                    <a:pt x="1102" y="1371"/>
                  </a:lnTo>
                  <a:lnTo>
                    <a:pt x="1080" y="1368"/>
                  </a:lnTo>
                  <a:lnTo>
                    <a:pt x="1058" y="1362"/>
                  </a:lnTo>
                  <a:lnTo>
                    <a:pt x="1037" y="1355"/>
                  </a:lnTo>
                  <a:lnTo>
                    <a:pt x="1016" y="1346"/>
                  </a:lnTo>
                  <a:lnTo>
                    <a:pt x="998" y="1334"/>
                  </a:lnTo>
                  <a:lnTo>
                    <a:pt x="981" y="1321"/>
                  </a:lnTo>
                  <a:lnTo>
                    <a:pt x="964" y="1306"/>
                  </a:lnTo>
                  <a:lnTo>
                    <a:pt x="950" y="1290"/>
                  </a:lnTo>
                  <a:lnTo>
                    <a:pt x="936" y="1272"/>
                  </a:lnTo>
                  <a:lnTo>
                    <a:pt x="926" y="1254"/>
                  </a:lnTo>
                  <a:lnTo>
                    <a:pt x="916" y="1234"/>
                  </a:lnTo>
                  <a:lnTo>
                    <a:pt x="908" y="1213"/>
                  </a:lnTo>
                  <a:lnTo>
                    <a:pt x="902" y="1191"/>
                  </a:lnTo>
                  <a:lnTo>
                    <a:pt x="899" y="1169"/>
                  </a:lnTo>
                  <a:lnTo>
                    <a:pt x="898" y="1145"/>
                  </a:lnTo>
                  <a:lnTo>
                    <a:pt x="898" y="1145"/>
                  </a:lnTo>
                  <a:lnTo>
                    <a:pt x="899" y="1123"/>
                  </a:lnTo>
                  <a:lnTo>
                    <a:pt x="902" y="1099"/>
                  </a:lnTo>
                  <a:lnTo>
                    <a:pt x="908" y="1078"/>
                  </a:lnTo>
                  <a:lnTo>
                    <a:pt x="916" y="1058"/>
                  </a:lnTo>
                  <a:lnTo>
                    <a:pt x="926" y="1037"/>
                  </a:lnTo>
                  <a:lnTo>
                    <a:pt x="936" y="1018"/>
                  </a:lnTo>
                  <a:lnTo>
                    <a:pt x="950" y="1002"/>
                  </a:lnTo>
                  <a:lnTo>
                    <a:pt x="964" y="985"/>
                  </a:lnTo>
                  <a:lnTo>
                    <a:pt x="981" y="970"/>
                  </a:lnTo>
                  <a:lnTo>
                    <a:pt x="998" y="957"/>
                  </a:lnTo>
                  <a:lnTo>
                    <a:pt x="1016" y="945"/>
                  </a:lnTo>
                  <a:lnTo>
                    <a:pt x="1037" y="936"/>
                  </a:lnTo>
                  <a:lnTo>
                    <a:pt x="1058" y="929"/>
                  </a:lnTo>
                  <a:lnTo>
                    <a:pt x="1080" y="923"/>
                  </a:lnTo>
                  <a:lnTo>
                    <a:pt x="1102" y="920"/>
                  </a:lnTo>
                  <a:lnTo>
                    <a:pt x="1126" y="919"/>
                  </a:lnTo>
                  <a:lnTo>
                    <a:pt x="1126" y="919"/>
                  </a:lnTo>
                  <a:lnTo>
                    <a:pt x="1148" y="920"/>
                  </a:lnTo>
                  <a:lnTo>
                    <a:pt x="1171" y="923"/>
                  </a:lnTo>
                  <a:lnTo>
                    <a:pt x="1192" y="929"/>
                  </a:lnTo>
                  <a:lnTo>
                    <a:pt x="1213" y="936"/>
                  </a:lnTo>
                  <a:lnTo>
                    <a:pt x="1234" y="945"/>
                  </a:lnTo>
                  <a:lnTo>
                    <a:pt x="1253" y="957"/>
                  </a:lnTo>
                  <a:lnTo>
                    <a:pt x="1269" y="970"/>
                  </a:lnTo>
                  <a:lnTo>
                    <a:pt x="1285" y="985"/>
                  </a:lnTo>
                  <a:lnTo>
                    <a:pt x="1300" y="1002"/>
                  </a:lnTo>
                  <a:lnTo>
                    <a:pt x="1313" y="1018"/>
                  </a:lnTo>
                  <a:lnTo>
                    <a:pt x="1325" y="1037"/>
                  </a:lnTo>
                  <a:lnTo>
                    <a:pt x="1334" y="1058"/>
                  </a:lnTo>
                  <a:lnTo>
                    <a:pt x="1342" y="1078"/>
                  </a:lnTo>
                  <a:lnTo>
                    <a:pt x="1347" y="1099"/>
                  </a:lnTo>
                  <a:lnTo>
                    <a:pt x="1350" y="1123"/>
                  </a:lnTo>
                  <a:lnTo>
                    <a:pt x="1352" y="1145"/>
                  </a:lnTo>
                  <a:lnTo>
                    <a:pt x="1352" y="1145"/>
                  </a:lnTo>
                  <a:lnTo>
                    <a:pt x="1350" y="1169"/>
                  </a:lnTo>
                  <a:lnTo>
                    <a:pt x="1347" y="1191"/>
                  </a:lnTo>
                  <a:lnTo>
                    <a:pt x="1342" y="1213"/>
                  </a:lnTo>
                  <a:lnTo>
                    <a:pt x="1334" y="1234"/>
                  </a:lnTo>
                  <a:lnTo>
                    <a:pt x="1325" y="1254"/>
                  </a:lnTo>
                  <a:lnTo>
                    <a:pt x="1313" y="1272"/>
                  </a:lnTo>
                  <a:lnTo>
                    <a:pt x="1300" y="1290"/>
                  </a:lnTo>
                  <a:lnTo>
                    <a:pt x="1285" y="1306"/>
                  </a:lnTo>
                  <a:lnTo>
                    <a:pt x="1269" y="1321"/>
                  </a:lnTo>
                  <a:lnTo>
                    <a:pt x="1253" y="1334"/>
                  </a:lnTo>
                  <a:lnTo>
                    <a:pt x="1234" y="1346"/>
                  </a:lnTo>
                  <a:lnTo>
                    <a:pt x="1213" y="1355"/>
                  </a:lnTo>
                  <a:lnTo>
                    <a:pt x="1192" y="1362"/>
                  </a:lnTo>
                  <a:lnTo>
                    <a:pt x="1171" y="1368"/>
                  </a:lnTo>
                  <a:lnTo>
                    <a:pt x="1148" y="1371"/>
                  </a:lnTo>
                  <a:lnTo>
                    <a:pt x="1126" y="1373"/>
                  </a:lnTo>
                  <a:lnTo>
                    <a:pt x="1126" y="1373"/>
                  </a:lnTo>
                  <a:close/>
                </a:path>
              </a:pathLst>
            </a:custGeom>
            <a:solidFill>
              <a:srgbClr val="24D4E2"/>
            </a:solidFill>
            <a:ln w="9525">
              <a:noFill/>
              <a:prstDash val="sysDash"/>
              <a:miter lim="800000"/>
              <a:headEnd/>
              <a:tailEnd/>
            </a:ln>
          </p:spPr>
          <p:txBody>
            <a:bodyPr lIns="18288" tIns="18288" rIns="18288" bIns="18288" anchor="ctr" anchorCtr="1"/>
            <a:lstStyle/>
            <a:p>
              <a:pPr algn="ctr" defTabSz="1218987">
                <a:lnSpc>
                  <a:spcPct val="85000"/>
                </a:lnSpc>
                <a:spcBef>
                  <a:spcPct val="20000"/>
                </a:spcBef>
              </a:pPr>
              <a:endParaRPr lang="en-US" sz="1600" b="1" dirty="0">
                <a:solidFill>
                  <a:srgbClr val="FFFFFF"/>
                </a:solidFill>
                <a:latin typeface="Arial Narrow" pitchFamily="112" charset="0"/>
              </a:endParaRPr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auto">
            <a:xfrm>
              <a:off x="9249470" y="4471868"/>
              <a:ext cx="740518" cy="293988"/>
            </a:xfrm>
            <a:custGeom>
              <a:avLst/>
              <a:gdLst/>
              <a:ahLst/>
              <a:cxnLst>
                <a:cxn ang="0">
                  <a:pos x="3430" y="953"/>
                </a:cxn>
                <a:cxn ang="0">
                  <a:pos x="3321" y="797"/>
                </a:cxn>
                <a:cxn ang="0">
                  <a:pos x="3197" y="652"/>
                </a:cxn>
                <a:cxn ang="0">
                  <a:pos x="3062" y="518"/>
                </a:cxn>
                <a:cxn ang="0">
                  <a:pos x="2914" y="399"/>
                </a:cxn>
                <a:cxn ang="0">
                  <a:pos x="2755" y="293"/>
                </a:cxn>
                <a:cxn ang="0">
                  <a:pos x="2587" y="202"/>
                </a:cxn>
                <a:cxn ang="0">
                  <a:pos x="2411" y="127"/>
                </a:cxn>
                <a:cxn ang="0">
                  <a:pos x="2225" y="68"/>
                </a:cxn>
                <a:cxn ang="0">
                  <a:pos x="2034" y="27"/>
                </a:cxn>
                <a:cxn ang="0">
                  <a:pos x="1835" y="4"/>
                </a:cxn>
                <a:cxn ang="0">
                  <a:pos x="1699" y="0"/>
                </a:cxn>
                <a:cxn ang="0">
                  <a:pos x="1503" y="9"/>
                </a:cxn>
                <a:cxn ang="0">
                  <a:pos x="1312" y="37"/>
                </a:cxn>
                <a:cxn ang="0">
                  <a:pos x="1126" y="81"/>
                </a:cxn>
                <a:cxn ang="0">
                  <a:pos x="948" y="143"/>
                </a:cxn>
                <a:cxn ang="0">
                  <a:pos x="777" y="219"/>
                </a:cxn>
                <a:cxn ang="0">
                  <a:pos x="615" y="311"/>
                </a:cxn>
                <a:cxn ang="0">
                  <a:pos x="464" y="415"/>
                </a:cxn>
                <a:cxn ang="0">
                  <a:pos x="321" y="535"/>
                </a:cxn>
                <a:cxn ang="0">
                  <a:pos x="191" y="664"/>
                </a:cxn>
                <a:cxn ang="0">
                  <a:pos x="72" y="807"/>
                </a:cxn>
                <a:cxn ang="0">
                  <a:pos x="385" y="897"/>
                </a:cxn>
                <a:cxn ang="0">
                  <a:pos x="599" y="1237"/>
                </a:cxn>
                <a:cxn ang="0">
                  <a:pos x="676" y="1141"/>
                </a:cxn>
                <a:cxn ang="0">
                  <a:pos x="761" y="1055"/>
                </a:cxn>
                <a:cxn ang="0">
                  <a:pos x="852" y="975"/>
                </a:cxn>
                <a:cxn ang="0">
                  <a:pos x="951" y="904"/>
                </a:cxn>
                <a:cxn ang="0">
                  <a:pos x="1056" y="841"/>
                </a:cxn>
                <a:cxn ang="0">
                  <a:pos x="1168" y="788"/>
                </a:cxn>
                <a:cxn ang="0">
                  <a:pos x="1282" y="745"/>
                </a:cxn>
                <a:cxn ang="0">
                  <a:pos x="1403" y="713"/>
                </a:cxn>
                <a:cxn ang="0">
                  <a:pos x="1528" y="691"/>
                </a:cxn>
                <a:cxn ang="0">
                  <a:pos x="1657" y="680"/>
                </a:cxn>
                <a:cxn ang="0">
                  <a:pos x="1743" y="680"/>
                </a:cxn>
                <a:cxn ang="0">
                  <a:pos x="1875" y="691"/>
                </a:cxn>
                <a:cxn ang="0">
                  <a:pos x="2001" y="713"/>
                </a:cxn>
                <a:cxn ang="0">
                  <a:pos x="2123" y="747"/>
                </a:cxn>
                <a:cxn ang="0">
                  <a:pos x="2240" y="791"/>
                </a:cxn>
                <a:cxn ang="0">
                  <a:pos x="2353" y="845"/>
                </a:cxn>
                <a:cxn ang="0">
                  <a:pos x="2458" y="910"/>
                </a:cxn>
                <a:cxn ang="0">
                  <a:pos x="2558" y="984"/>
                </a:cxn>
                <a:cxn ang="0">
                  <a:pos x="2651" y="1065"/>
                </a:cxn>
                <a:cxn ang="0">
                  <a:pos x="2735" y="1155"/>
                </a:cxn>
                <a:cxn ang="0">
                  <a:pos x="2811" y="1252"/>
                </a:cxn>
                <a:cxn ang="0">
                  <a:pos x="2636" y="1402"/>
                </a:cxn>
                <a:cxn ang="0">
                  <a:pos x="3624" y="844"/>
                </a:cxn>
              </a:cxnLst>
              <a:rect l="0" t="0" r="r" b="b"/>
              <a:pathLst>
                <a:path w="3626" h="1438">
                  <a:moveTo>
                    <a:pt x="3624" y="844"/>
                  </a:moveTo>
                  <a:lnTo>
                    <a:pt x="3430" y="953"/>
                  </a:lnTo>
                  <a:lnTo>
                    <a:pt x="3430" y="953"/>
                  </a:lnTo>
                  <a:lnTo>
                    <a:pt x="3395" y="900"/>
                  </a:lnTo>
                  <a:lnTo>
                    <a:pt x="3358" y="847"/>
                  </a:lnTo>
                  <a:lnTo>
                    <a:pt x="3321" y="797"/>
                  </a:lnTo>
                  <a:lnTo>
                    <a:pt x="3281" y="747"/>
                  </a:lnTo>
                  <a:lnTo>
                    <a:pt x="3240" y="698"/>
                  </a:lnTo>
                  <a:lnTo>
                    <a:pt x="3197" y="652"/>
                  </a:lnTo>
                  <a:lnTo>
                    <a:pt x="3153" y="607"/>
                  </a:lnTo>
                  <a:lnTo>
                    <a:pt x="3109" y="563"/>
                  </a:lnTo>
                  <a:lnTo>
                    <a:pt x="3062" y="518"/>
                  </a:lnTo>
                  <a:lnTo>
                    <a:pt x="3013" y="477"/>
                  </a:lnTo>
                  <a:lnTo>
                    <a:pt x="2964" y="437"/>
                  </a:lnTo>
                  <a:lnTo>
                    <a:pt x="2914" y="399"/>
                  </a:lnTo>
                  <a:lnTo>
                    <a:pt x="2863" y="362"/>
                  </a:lnTo>
                  <a:lnTo>
                    <a:pt x="2810" y="327"/>
                  </a:lnTo>
                  <a:lnTo>
                    <a:pt x="2755" y="293"/>
                  </a:lnTo>
                  <a:lnTo>
                    <a:pt x="2701" y="261"/>
                  </a:lnTo>
                  <a:lnTo>
                    <a:pt x="2645" y="231"/>
                  </a:lnTo>
                  <a:lnTo>
                    <a:pt x="2587" y="202"/>
                  </a:lnTo>
                  <a:lnTo>
                    <a:pt x="2530" y="175"/>
                  </a:lnTo>
                  <a:lnTo>
                    <a:pt x="2471" y="150"/>
                  </a:lnTo>
                  <a:lnTo>
                    <a:pt x="2411" y="127"/>
                  </a:lnTo>
                  <a:lnTo>
                    <a:pt x="2350" y="105"/>
                  </a:lnTo>
                  <a:lnTo>
                    <a:pt x="2288" y="85"/>
                  </a:lnTo>
                  <a:lnTo>
                    <a:pt x="2225" y="68"/>
                  </a:lnTo>
                  <a:lnTo>
                    <a:pt x="2162" y="52"/>
                  </a:lnTo>
                  <a:lnTo>
                    <a:pt x="2098" y="38"/>
                  </a:lnTo>
                  <a:lnTo>
                    <a:pt x="2034" y="27"/>
                  </a:lnTo>
                  <a:lnTo>
                    <a:pt x="1967" y="16"/>
                  </a:lnTo>
                  <a:lnTo>
                    <a:pt x="1903" y="9"/>
                  </a:lnTo>
                  <a:lnTo>
                    <a:pt x="1835" y="4"/>
                  </a:lnTo>
                  <a:lnTo>
                    <a:pt x="1768" y="0"/>
                  </a:lnTo>
                  <a:lnTo>
                    <a:pt x="1699" y="0"/>
                  </a:lnTo>
                  <a:lnTo>
                    <a:pt x="1699" y="0"/>
                  </a:lnTo>
                  <a:lnTo>
                    <a:pt x="1634" y="0"/>
                  </a:lnTo>
                  <a:lnTo>
                    <a:pt x="1568" y="3"/>
                  </a:lnTo>
                  <a:lnTo>
                    <a:pt x="1503" y="9"/>
                  </a:lnTo>
                  <a:lnTo>
                    <a:pt x="1439" y="16"/>
                  </a:lnTo>
                  <a:lnTo>
                    <a:pt x="1375" y="25"/>
                  </a:lnTo>
                  <a:lnTo>
                    <a:pt x="1312" y="37"/>
                  </a:lnTo>
                  <a:lnTo>
                    <a:pt x="1250" y="49"/>
                  </a:lnTo>
                  <a:lnTo>
                    <a:pt x="1188" y="65"/>
                  </a:lnTo>
                  <a:lnTo>
                    <a:pt x="1126" y="81"/>
                  </a:lnTo>
                  <a:lnTo>
                    <a:pt x="1066" y="100"/>
                  </a:lnTo>
                  <a:lnTo>
                    <a:pt x="1007" y="121"/>
                  </a:lnTo>
                  <a:lnTo>
                    <a:pt x="948" y="143"/>
                  </a:lnTo>
                  <a:lnTo>
                    <a:pt x="891" y="166"/>
                  </a:lnTo>
                  <a:lnTo>
                    <a:pt x="833" y="191"/>
                  </a:lnTo>
                  <a:lnTo>
                    <a:pt x="777" y="219"/>
                  </a:lnTo>
                  <a:lnTo>
                    <a:pt x="723" y="247"/>
                  </a:lnTo>
                  <a:lnTo>
                    <a:pt x="668" y="278"/>
                  </a:lnTo>
                  <a:lnTo>
                    <a:pt x="615" y="311"/>
                  </a:lnTo>
                  <a:lnTo>
                    <a:pt x="564" y="345"/>
                  </a:lnTo>
                  <a:lnTo>
                    <a:pt x="514" y="380"/>
                  </a:lnTo>
                  <a:lnTo>
                    <a:pt x="464" y="415"/>
                  </a:lnTo>
                  <a:lnTo>
                    <a:pt x="415" y="454"/>
                  </a:lnTo>
                  <a:lnTo>
                    <a:pt x="368" y="493"/>
                  </a:lnTo>
                  <a:lnTo>
                    <a:pt x="321" y="535"/>
                  </a:lnTo>
                  <a:lnTo>
                    <a:pt x="276" y="576"/>
                  </a:lnTo>
                  <a:lnTo>
                    <a:pt x="232" y="620"/>
                  </a:lnTo>
                  <a:lnTo>
                    <a:pt x="191" y="664"/>
                  </a:lnTo>
                  <a:lnTo>
                    <a:pt x="150" y="711"/>
                  </a:lnTo>
                  <a:lnTo>
                    <a:pt x="110" y="759"/>
                  </a:lnTo>
                  <a:lnTo>
                    <a:pt x="72" y="807"/>
                  </a:lnTo>
                  <a:lnTo>
                    <a:pt x="35" y="856"/>
                  </a:lnTo>
                  <a:lnTo>
                    <a:pt x="0" y="907"/>
                  </a:lnTo>
                  <a:lnTo>
                    <a:pt x="385" y="897"/>
                  </a:lnTo>
                  <a:lnTo>
                    <a:pt x="575" y="1270"/>
                  </a:lnTo>
                  <a:lnTo>
                    <a:pt x="575" y="1270"/>
                  </a:lnTo>
                  <a:lnTo>
                    <a:pt x="599" y="1237"/>
                  </a:lnTo>
                  <a:lnTo>
                    <a:pt x="624" y="1205"/>
                  </a:lnTo>
                  <a:lnTo>
                    <a:pt x="649" y="1172"/>
                  </a:lnTo>
                  <a:lnTo>
                    <a:pt x="676" y="1141"/>
                  </a:lnTo>
                  <a:lnTo>
                    <a:pt x="704" y="1112"/>
                  </a:lnTo>
                  <a:lnTo>
                    <a:pt x="732" y="1083"/>
                  </a:lnTo>
                  <a:lnTo>
                    <a:pt x="761" y="1055"/>
                  </a:lnTo>
                  <a:lnTo>
                    <a:pt x="791" y="1028"/>
                  </a:lnTo>
                  <a:lnTo>
                    <a:pt x="821" y="1000"/>
                  </a:lnTo>
                  <a:lnTo>
                    <a:pt x="852" y="975"/>
                  </a:lnTo>
                  <a:lnTo>
                    <a:pt x="885" y="950"/>
                  </a:lnTo>
                  <a:lnTo>
                    <a:pt x="917" y="926"/>
                  </a:lnTo>
                  <a:lnTo>
                    <a:pt x="951" y="904"/>
                  </a:lnTo>
                  <a:lnTo>
                    <a:pt x="985" y="882"/>
                  </a:lnTo>
                  <a:lnTo>
                    <a:pt x="1020" y="862"/>
                  </a:lnTo>
                  <a:lnTo>
                    <a:pt x="1056" y="841"/>
                  </a:lnTo>
                  <a:lnTo>
                    <a:pt x="1092" y="822"/>
                  </a:lnTo>
                  <a:lnTo>
                    <a:pt x="1129" y="804"/>
                  </a:lnTo>
                  <a:lnTo>
                    <a:pt x="1168" y="788"/>
                  </a:lnTo>
                  <a:lnTo>
                    <a:pt x="1204" y="773"/>
                  </a:lnTo>
                  <a:lnTo>
                    <a:pt x="1244" y="759"/>
                  </a:lnTo>
                  <a:lnTo>
                    <a:pt x="1282" y="745"/>
                  </a:lnTo>
                  <a:lnTo>
                    <a:pt x="1322" y="734"/>
                  </a:lnTo>
                  <a:lnTo>
                    <a:pt x="1363" y="722"/>
                  </a:lnTo>
                  <a:lnTo>
                    <a:pt x="1403" y="713"/>
                  </a:lnTo>
                  <a:lnTo>
                    <a:pt x="1444" y="704"/>
                  </a:lnTo>
                  <a:lnTo>
                    <a:pt x="1486" y="697"/>
                  </a:lnTo>
                  <a:lnTo>
                    <a:pt x="1528" y="691"/>
                  </a:lnTo>
                  <a:lnTo>
                    <a:pt x="1571" y="686"/>
                  </a:lnTo>
                  <a:lnTo>
                    <a:pt x="1614" y="682"/>
                  </a:lnTo>
                  <a:lnTo>
                    <a:pt x="1657" y="680"/>
                  </a:lnTo>
                  <a:lnTo>
                    <a:pt x="1699" y="680"/>
                  </a:lnTo>
                  <a:lnTo>
                    <a:pt x="1699" y="680"/>
                  </a:lnTo>
                  <a:lnTo>
                    <a:pt x="1743" y="680"/>
                  </a:lnTo>
                  <a:lnTo>
                    <a:pt x="1788" y="682"/>
                  </a:lnTo>
                  <a:lnTo>
                    <a:pt x="1832" y="686"/>
                  </a:lnTo>
                  <a:lnTo>
                    <a:pt x="1875" y="691"/>
                  </a:lnTo>
                  <a:lnTo>
                    <a:pt x="1917" y="697"/>
                  </a:lnTo>
                  <a:lnTo>
                    <a:pt x="1958" y="704"/>
                  </a:lnTo>
                  <a:lnTo>
                    <a:pt x="2001" y="713"/>
                  </a:lnTo>
                  <a:lnTo>
                    <a:pt x="2042" y="723"/>
                  </a:lnTo>
                  <a:lnTo>
                    <a:pt x="2082" y="735"/>
                  </a:lnTo>
                  <a:lnTo>
                    <a:pt x="2123" y="747"/>
                  </a:lnTo>
                  <a:lnTo>
                    <a:pt x="2163" y="760"/>
                  </a:lnTo>
                  <a:lnTo>
                    <a:pt x="2202" y="775"/>
                  </a:lnTo>
                  <a:lnTo>
                    <a:pt x="2240" y="791"/>
                  </a:lnTo>
                  <a:lnTo>
                    <a:pt x="2278" y="809"/>
                  </a:lnTo>
                  <a:lnTo>
                    <a:pt x="2316" y="826"/>
                  </a:lnTo>
                  <a:lnTo>
                    <a:pt x="2353" y="845"/>
                  </a:lnTo>
                  <a:lnTo>
                    <a:pt x="2389" y="866"/>
                  </a:lnTo>
                  <a:lnTo>
                    <a:pt x="2424" y="888"/>
                  </a:lnTo>
                  <a:lnTo>
                    <a:pt x="2458" y="910"/>
                  </a:lnTo>
                  <a:lnTo>
                    <a:pt x="2493" y="934"/>
                  </a:lnTo>
                  <a:lnTo>
                    <a:pt x="2526" y="959"/>
                  </a:lnTo>
                  <a:lnTo>
                    <a:pt x="2558" y="984"/>
                  </a:lnTo>
                  <a:lnTo>
                    <a:pt x="2589" y="1010"/>
                  </a:lnTo>
                  <a:lnTo>
                    <a:pt x="2620" y="1037"/>
                  </a:lnTo>
                  <a:lnTo>
                    <a:pt x="2651" y="1065"/>
                  </a:lnTo>
                  <a:lnTo>
                    <a:pt x="2680" y="1094"/>
                  </a:lnTo>
                  <a:lnTo>
                    <a:pt x="2708" y="1124"/>
                  </a:lnTo>
                  <a:lnTo>
                    <a:pt x="2735" y="1155"/>
                  </a:lnTo>
                  <a:lnTo>
                    <a:pt x="2761" y="1187"/>
                  </a:lnTo>
                  <a:lnTo>
                    <a:pt x="2786" y="1220"/>
                  </a:lnTo>
                  <a:lnTo>
                    <a:pt x="2811" y="1252"/>
                  </a:lnTo>
                  <a:lnTo>
                    <a:pt x="2835" y="1286"/>
                  </a:lnTo>
                  <a:lnTo>
                    <a:pt x="2635" y="1399"/>
                  </a:lnTo>
                  <a:lnTo>
                    <a:pt x="2636" y="1402"/>
                  </a:lnTo>
                  <a:lnTo>
                    <a:pt x="3306" y="1438"/>
                  </a:lnTo>
                  <a:lnTo>
                    <a:pt x="3626" y="847"/>
                  </a:lnTo>
                  <a:lnTo>
                    <a:pt x="3624" y="84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8987"/>
              <a:endParaRPr lang="en-US" sz="2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8" name="Oval 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004931" y="975342"/>
            <a:ext cx="462336" cy="462336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  <a:scene3d>
            <a:camera prst="orthographicFront"/>
            <a:lightRig rig="threePt" dir="t"/>
          </a:scene3d>
          <a:sp3d>
            <a:bevelT w="44450" prst="angle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8987"/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533470" y="1112851"/>
            <a:ext cx="4521219" cy="1507628"/>
          </a:xfrm>
          <a:prstGeom prst="rect">
            <a:avLst/>
          </a:prstGeom>
          <a:solidFill>
            <a:schemeClr val="bg1"/>
          </a:solidFill>
          <a:ln w="19050">
            <a:solidFill>
              <a:srgbClr val="F0E4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r>
              <a:rPr lang="en-US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 Black" charset="0"/>
                <a:ea typeface="Arial Black" charset="0"/>
                <a:cs typeface="Arial Black" charset="0"/>
              </a:rPr>
              <a:t>MACHINE LEARNING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DATA ACQUISITION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BUSINESS UNDERSTANDING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MACHINE LEARNING METHODOLOGIES</a:t>
            </a:r>
          </a:p>
          <a:p>
            <a:pPr algn="ctr" defTabSz="1218987"/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42" name="Rectangle 41"/>
          <p:cNvSpPr/>
          <p:nvPr/>
        </p:nvSpPr>
        <p:spPr>
          <a:xfrm>
            <a:off x="562295" y="2906879"/>
            <a:ext cx="4463568" cy="1608391"/>
          </a:xfrm>
          <a:prstGeom prst="rect">
            <a:avLst/>
          </a:prstGeom>
          <a:solidFill>
            <a:schemeClr val="bg1"/>
          </a:solidFill>
          <a:ln w="19050">
            <a:solidFill>
              <a:srgbClr val="FF7E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r>
              <a:rPr lang="en-US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 Black" charset="0"/>
                <a:ea typeface="Arial Black" charset="0"/>
                <a:cs typeface="Arial Black" charset="0"/>
              </a:rPr>
              <a:t>DEVELOPMENT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CONTINUOUS INTEGRATION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MODELING + TESTING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 DEPLOYMENT EFFICIENCY 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54027" y="4910937"/>
            <a:ext cx="4429885" cy="1507628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218987"/>
            <a:r>
              <a:rPr lang="en-US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 Black" charset="0"/>
                <a:ea typeface="Arial Black" charset="0"/>
                <a:cs typeface="Arial Black" charset="0"/>
              </a:rPr>
              <a:t>OPERATIONS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CONTINUOUS DELIVERY 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DATA FEEDBACK LOOP</a:t>
            </a:r>
          </a:p>
          <a:p>
            <a:pPr marL="171450" indent="-171450" defTabSz="121898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  <a:cs typeface="Arial"/>
              </a:rPr>
              <a:t>MODEL MONITORING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0D18B3-06EA-4805-BB9C-E1EAF3B54C5B}"/>
              </a:ext>
            </a:extLst>
          </p:cNvPr>
          <p:cNvSpPr txBox="1"/>
          <p:nvPr/>
        </p:nvSpPr>
        <p:spPr>
          <a:xfrm>
            <a:off x="533469" y="283911"/>
            <a:ext cx="88403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2400" dirty="0">
                <a:solidFill>
                  <a:prstClr val="black"/>
                </a:solidFill>
                <a:latin typeface="Calibri"/>
              </a:rPr>
              <a:t>WHY MLOPS? – A COHESIVE ENVIRONMENT THAT ENABLES…</a:t>
            </a:r>
          </a:p>
        </p:txBody>
      </p:sp>
    </p:spTree>
    <p:extLst>
      <p:ext uri="{BB962C8B-B14F-4D97-AF65-F5344CB8AC3E}">
        <p14:creationId xmlns:p14="http://schemas.microsoft.com/office/powerpoint/2010/main" val="110533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3.80828E-6 4.07407E-6 L 0.11174 0.1828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7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587" y="91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16176E-6 -1.85185E-6 L -0.09925 -0.16342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7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962" y="-817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8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10" dur="2000" fill="hold"/>
                                        <p:tgtEl>
                                          <p:spTgt spid="17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12" dur="2000" fill="hold"/>
                                        <p:tgtEl>
                                          <p:spTgt spid="17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43200000">
                                      <p:cBhvr>
                                        <p:cTn id="14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-43200000">
                                      <p:cBhvr>
                                        <p:cTn id="16" dur="2000" fill="hold"/>
                                        <p:tgtEl>
                                          <p:spTgt spid="175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-43200000">
                                      <p:cBhvr>
                                        <p:cTn id="18" dur="2000" fill="hold"/>
                                        <p:tgtEl>
                                          <p:spTgt spid="175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8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43200000">
                                      <p:cBhvr>
                                        <p:cTn id="20" dur="2000" fill="hold"/>
                                        <p:tgtEl>
                                          <p:spTgt spid="176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8" presetClass="emph" presetSubtype="0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-43200000">
                                      <p:cBhvr>
                                        <p:cTn id="22" dur="2000" fill="hold"/>
                                        <p:tgtEl>
                                          <p:spTgt spid="175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500"/>
                            </p:stCondLst>
                            <p:childTnLst>
                              <p:par>
                                <p:cTn id="42" presetID="2" presetClass="entr" presetSubtype="8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1" grpId="0" animBg="1"/>
      <p:bldP spid="40" grpId="0" animBg="1"/>
      <p:bldP spid="1750" grpId="0" animBg="1"/>
      <p:bldP spid="1751" grpId="0" animBg="1"/>
      <p:bldP spid="1765" grpId="0" animBg="1"/>
      <p:bldP spid="1766" grpId="0" animBg="1"/>
      <p:bldP spid="39" grpId="0" animBg="1"/>
      <p:bldP spid="42" grpId="0" animBg="1"/>
      <p:bldP spid="4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1A559556-6CA9-0347-A2C1-E86D2B1F5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01897"/>
            <a:ext cx="10342732" cy="830998"/>
          </a:xfrm>
        </p:spPr>
        <p:txBody>
          <a:bodyPr/>
          <a:lstStyle/>
          <a:p>
            <a:r>
              <a:rPr lang="en-US" dirty="0"/>
              <a:t>OUR APPROACH</a:t>
            </a:r>
          </a:p>
        </p:txBody>
      </p:sp>
      <p:pic>
        <p:nvPicPr>
          <p:cNvPr id="38" name="Picture 10" descr="Json file - Free interface icons">
            <a:extLst>
              <a:ext uri="{FF2B5EF4-FFF2-40B4-BE49-F238E27FC236}">
                <a16:creationId xmlns:a16="http://schemas.microsoft.com/office/drawing/2014/main" id="{6D27EDD6-8667-42C7-83F9-BBEC826B31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" r="9466"/>
          <a:stretch/>
        </p:blipFill>
        <p:spPr bwMode="auto">
          <a:xfrm>
            <a:off x="947722" y="1959622"/>
            <a:ext cx="635184" cy="78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Connector: Elbow 269">
            <a:extLst>
              <a:ext uri="{FF2B5EF4-FFF2-40B4-BE49-F238E27FC236}">
                <a16:creationId xmlns:a16="http://schemas.microsoft.com/office/drawing/2014/main" id="{F6AF5D14-EBAA-4D16-B2C6-7D56C39B3ADF}"/>
              </a:ext>
            </a:extLst>
          </p:cNvPr>
          <p:cNvCxnSpPr>
            <a:cxnSpLocks/>
            <a:stCxn id="38" idx="3"/>
          </p:cNvCxnSpPr>
          <p:nvPr/>
        </p:nvCxnSpPr>
        <p:spPr>
          <a:xfrm flipV="1">
            <a:off x="1582906" y="2349273"/>
            <a:ext cx="1684981" cy="3594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10" descr="Json file - Free interface icons">
            <a:extLst>
              <a:ext uri="{FF2B5EF4-FFF2-40B4-BE49-F238E27FC236}">
                <a16:creationId xmlns:a16="http://schemas.microsoft.com/office/drawing/2014/main" id="{21A35550-0E27-4B53-AC59-4979FC689C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" r="9466"/>
          <a:stretch/>
        </p:blipFill>
        <p:spPr bwMode="auto">
          <a:xfrm>
            <a:off x="947722" y="3038093"/>
            <a:ext cx="635184" cy="78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0" descr="Json file - Free interface icons">
            <a:extLst>
              <a:ext uri="{FF2B5EF4-FFF2-40B4-BE49-F238E27FC236}">
                <a16:creationId xmlns:a16="http://schemas.microsoft.com/office/drawing/2014/main" id="{9A233009-CFDB-48E3-BB0D-C0F3EF9B00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" r="9466"/>
          <a:stretch/>
        </p:blipFill>
        <p:spPr bwMode="auto">
          <a:xfrm>
            <a:off x="947722" y="4116564"/>
            <a:ext cx="635184" cy="786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Connector: Elbow 269">
            <a:extLst>
              <a:ext uri="{FF2B5EF4-FFF2-40B4-BE49-F238E27FC236}">
                <a16:creationId xmlns:a16="http://schemas.microsoft.com/office/drawing/2014/main" id="{6E2CAC29-64D8-42E2-87EB-01CECF9F833F}"/>
              </a:ext>
            </a:extLst>
          </p:cNvPr>
          <p:cNvCxnSpPr>
            <a:cxnSpLocks/>
          </p:cNvCxnSpPr>
          <p:nvPr/>
        </p:nvCxnSpPr>
        <p:spPr>
          <a:xfrm flipV="1">
            <a:off x="1550967" y="3418915"/>
            <a:ext cx="1756506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89EE1A6A-45AB-43E2-A494-94DD225F5B84}"/>
              </a:ext>
            </a:extLst>
          </p:cNvPr>
          <p:cNvSpPr txBox="1"/>
          <p:nvPr/>
        </p:nvSpPr>
        <p:spPr>
          <a:xfrm>
            <a:off x="77175" y="944385"/>
            <a:ext cx="29044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8A74A0"/>
                </a:solidFill>
                <a:latin typeface="Verdana"/>
              </a:rPr>
              <a:t>DATA IS CURATED AND COLLECTED FROM A RT SOURCE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C772F27-F39A-4471-B1F6-01082CE6D280}"/>
              </a:ext>
            </a:extLst>
          </p:cNvPr>
          <p:cNvSpPr txBox="1"/>
          <p:nvPr/>
        </p:nvSpPr>
        <p:spPr>
          <a:xfrm>
            <a:off x="2134313" y="3065278"/>
            <a:ext cx="10309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le Drop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0659CF9-7861-437F-8637-5C4C0F96F468}"/>
              </a:ext>
            </a:extLst>
          </p:cNvPr>
          <p:cNvGrpSpPr/>
          <p:nvPr/>
        </p:nvGrpSpPr>
        <p:grpSpPr>
          <a:xfrm>
            <a:off x="446993" y="1738482"/>
            <a:ext cx="576064" cy="576064"/>
            <a:chOff x="7752184" y="5733256"/>
            <a:chExt cx="576064" cy="576064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DB945E8-0011-4CFA-BD75-A438CD0DE1A3}"/>
                </a:ext>
              </a:extLst>
            </p:cNvPr>
            <p:cNvSpPr/>
            <p:nvPr/>
          </p:nvSpPr>
          <p:spPr>
            <a:xfrm>
              <a:off x="7752184" y="5733256"/>
              <a:ext cx="576064" cy="576064"/>
            </a:xfrm>
            <a:prstGeom prst="ellipse">
              <a:avLst/>
            </a:prstGeom>
            <a:solidFill>
              <a:srgbClr val="FFDB68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Text Placeholder 1">
              <a:extLst>
                <a:ext uri="{FF2B5EF4-FFF2-40B4-BE49-F238E27FC236}">
                  <a16:creationId xmlns:a16="http://schemas.microsoft.com/office/drawing/2014/main" id="{4B41ADA5-A158-4709-8950-E77EBF294182}"/>
                </a:ext>
              </a:extLst>
            </p:cNvPr>
            <p:cNvSpPr txBox="1">
              <a:spLocks/>
            </p:cNvSpPr>
            <p:nvPr/>
          </p:nvSpPr>
          <p:spPr>
            <a:xfrm>
              <a:off x="7788188" y="5796927"/>
              <a:ext cx="504056" cy="44872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2667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4445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6223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3"/>
                </a:buClr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812800" indent="-1905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1</a:t>
              </a:r>
              <a:endPara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FE5D998-5393-46E0-8CF4-3FC07FF3B3D2}"/>
              </a:ext>
            </a:extLst>
          </p:cNvPr>
          <p:cNvGrpSpPr/>
          <p:nvPr/>
        </p:nvGrpSpPr>
        <p:grpSpPr>
          <a:xfrm>
            <a:off x="444085" y="2804136"/>
            <a:ext cx="576064" cy="576064"/>
            <a:chOff x="7752184" y="5733256"/>
            <a:chExt cx="576064" cy="576064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0CE113A4-8A1A-4860-93D4-40A006EA0183}"/>
                </a:ext>
              </a:extLst>
            </p:cNvPr>
            <p:cNvSpPr/>
            <p:nvPr/>
          </p:nvSpPr>
          <p:spPr>
            <a:xfrm>
              <a:off x="7752184" y="5733256"/>
              <a:ext cx="576064" cy="576064"/>
            </a:xfrm>
            <a:prstGeom prst="ellipse">
              <a:avLst/>
            </a:prstGeom>
            <a:solidFill>
              <a:srgbClr val="FFDB68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Text Placeholder 1">
              <a:extLst>
                <a:ext uri="{FF2B5EF4-FFF2-40B4-BE49-F238E27FC236}">
                  <a16:creationId xmlns:a16="http://schemas.microsoft.com/office/drawing/2014/main" id="{ACFFE051-5370-4228-B4E7-53ABB0AFF8F8}"/>
                </a:ext>
              </a:extLst>
            </p:cNvPr>
            <p:cNvSpPr txBox="1">
              <a:spLocks/>
            </p:cNvSpPr>
            <p:nvPr/>
          </p:nvSpPr>
          <p:spPr>
            <a:xfrm>
              <a:off x="7788188" y="5796927"/>
              <a:ext cx="504056" cy="44872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2667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4445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6223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3"/>
                </a:buClr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812800" indent="-1905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2</a:t>
              </a:r>
              <a:endPara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B91307B-CE64-4E2C-ACB4-9309C4CF7A5C}"/>
              </a:ext>
            </a:extLst>
          </p:cNvPr>
          <p:cNvGrpSpPr/>
          <p:nvPr/>
        </p:nvGrpSpPr>
        <p:grpSpPr>
          <a:xfrm>
            <a:off x="444085" y="3869790"/>
            <a:ext cx="576064" cy="576064"/>
            <a:chOff x="7752184" y="5733256"/>
            <a:chExt cx="576064" cy="576064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DB84124-3997-47D7-BFEE-E45EEDCCE39B}"/>
                </a:ext>
              </a:extLst>
            </p:cNvPr>
            <p:cNvSpPr/>
            <p:nvPr/>
          </p:nvSpPr>
          <p:spPr>
            <a:xfrm>
              <a:off x="7752184" y="5733256"/>
              <a:ext cx="576064" cy="576064"/>
            </a:xfrm>
            <a:prstGeom prst="ellipse">
              <a:avLst/>
            </a:prstGeom>
            <a:solidFill>
              <a:srgbClr val="FFDB68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" name="Text Placeholder 1">
              <a:extLst>
                <a:ext uri="{FF2B5EF4-FFF2-40B4-BE49-F238E27FC236}">
                  <a16:creationId xmlns:a16="http://schemas.microsoft.com/office/drawing/2014/main" id="{1FFC4832-02AD-45C9-BD4D-9068B3CAFC8C}"/>
                </a:ext>
              </a:extLst>
            </p:cNvPr>
            <p:cNvSpPr txBox="1">
              <a:spLocks/>
            </p:cNvSpPr>
            <p:nvPr/>
          </p:nvSpPr>
          <p:spPr>
            <a:xfrm>
              <a:off x="7788188" y="5796927"/>
              <a:ext cx="504056" cy="448723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2667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4445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6223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3"/>
                </a:buClr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812800" indent="-1905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3</a:t>
              </a:r>
              <a:endPara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61" name="Connector: Elbow 269">
            <a:extLst>
              <a:ext uri="{FF2B5EF4-FFF2-40B4-BE49-F238E27FC236}">
                <a16:creationId xmlns:a16="http://schemas.microsoft.com/office/drawing/2014/main" id="{686A8A54-9B01-4722-A0F8-980661C1947B}"/>
              </a:ext>
            </a:extLst>
          </p:cNvPr>
          <p:cNvCxnSpPr>
            <a:cxnSpLocks/>
          </p:cNvCxnSpPr>
          <p:nvPr/>
        </p:nvCxnSpPr>
        <p:spPr>
          <a:xfrm flipV="1">
            <a:off x="1582906" y="4529385"/>
            <a:ext cx="1756506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914" name="Picture 2" descr="Cloud analytics caching for S3, Google, and Azure with Alluxio">
            <a:extLst>
              <a:ext uri="{FF2B5EF4-FFF2-40B4-BE49-F238E27FC236}">
                <a16:creationId xmlns:a16="http://schemas.microsoft.com/office/drawing/2014/main" id="{4A7A4346-9249-4789-BC1A-CC538D9A1C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2619" y="1959347"/>
            <a:ext cx="1406713" cy="140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6ABBE182-8AFF-4DA5-9EFD-07DFA07BB92A}"/>
              </a:ext>
            </a:extLst>
          </p:cNvPr>
          <p:cNvSpPr txBox="1"/>
          <p:nvPr/>
        </p:nvSpPr>
        <p:spPr>
          <a:xfrm>
            <a:off x="2019035" y="1921744"/>
            <a:ext cx="10309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le Drop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5F3F882-B892-4557-B357-F553BD3DCE60}"/>
              </a:ext>
            </a:extLst>
          </p:cNvPr>
          <p:cNvSpPr/>
          <p:nvPr/>
        </p:nvSpPr>
        <p:spPr>
          <a:xfrm>
            <a:off x="3296766" y="1781120"/>
            <a:ext cx="2090577" cy="190273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244CD3EC-B4C7-4764-A797-D1174326EF4A}"/>
              </a:ext>
            </a:extLst>
          </p:cNvPr>
          <p:cNvSpPr/>
          <p:nvPr/>
        </p:nvSpPr>
        <p:spPr>
          <a:xfrm>
            <a:off x="3307473" y="3909654"/>
            <a:ext cx="2062701" cy="190273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16DE885-8D80-4F44-B80E-B3E3CA6F3611}"/>
              </a:ext>
            </a:extLst>
          </p:cNvPr>
          <p:cNvSpPr txBox="1"/>
          <p:nvPr/>
        </p:nvSpPr>
        <p:spPr>
          <a:xfrm>
            <a:off x="3260298" y="1461483"/>
            <a:ext cx="1684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orage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8A74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80" name="Picture 79" descr="A close up of a logo&#10;&#10;Description automatically generated">
            <a:extLst>
              <a:ext uri="{FF2B5EF4-FFF2-40B4-BE49-F238E27FC236}">
                <a16:creationId xmlns:a16="http://schemas.microsoft.com/office/drawing/2014/main" id="{A02568C5-421C-4CAA-90E8-7495CF430E9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21" t="6033" r="14402" b="6795"/>
          <a:stretch/>
        </p:blipFill>
        <p:spPr>
          <a:xfrm>
            <a:off x="6105536" y="3495776"/>
            <a:ext cx="1131579" cy="1033609"/>
          </a:xfrm>
          <a:prstGeom prst="rect">
            <a:avLst/>
          </a:prstGeom>
        </p:spPr>
      </p:pic>
      <p:cxnSp>
        <p:nvCxnSpPr>
          <p:cNvPr id="81" name="Connector: Elbow 269">
            <a:extLst>
              <a:ext uri="{FF2B5EF4-FFF2-40B4-BE49-F238E27FC236}">
                <a16:creationId xmlns:a16="http://schemas.microsoft.com/office/drawing/2014/main" id="{97B44A7E-6688-4BE5-A2D7-00155179750E}"/>
              </a:ext>
            </a:extLst>
          </p:cNvPr>
          <p:cNvCxnSpPr>
            <a:cxnSpLocks/>
            <a:stCxn id="80" idx="1"/>
          </p:cNvCxnSpPr>
          <p:nvPr/>
        </p:nvCxnSpPr>
        <p:spPr>
          <a:xfrm rot="10800000">
            <a:off x="5010626" y="3588685"/>
            <a:ext cx="1094911" cy="423897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>
                <a:alpha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269">
            <a:extLst>
              <a:ext uri="{FF2B5EF4-FFF2-40B4-BE49-F238E27FC236}">
                <a16:creationId xmlns:a16="http://schemas.microsoft.com/office/drawing/2014/main" id="{CDD530FD-FAA2-4A43-AC8C-4D2218F58A74}"/>
              </a:ext>
            </a:extLst>
          </p:cNvPr>
          <p:cNvCxnSpPr>
            <a:cxnSpLocks/>
            <a:stCxn id="80" idx="3"/>
          </p:cNvCxnSpPr>
          <p:nvPr/>
        </p:nvCxnSpPr>
        <p:spPr>
          <a:xfrm flipV="1">
            <a:off x="7237115" y="3495441"/>
            <a:ext cx="895791" cy="517140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>
                <a:alpha val="4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2634ABD0-C988-4509-A541-E06A312FDEC5}"/>
              </a:ext>
            </a:extLst>
          </p:cNvPr>
          <p:cNvSpPr txBox="1"/>
          <p:nvPr/>
        </p:nvSpPr>
        <p:spPr>
          <a:xfrm>
            <a:off x="5643410" y="1755781"/>
            <a:ext cx="1724567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8A74A0"/>
                </a:solidFill>
                <a:latin typeface="Verdana"/>
              </a:rPr>
              <a:t>CUBEFLOW &amp; KUBERNETES FOR CONTINUOUS DEPLOYMEM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A6F029F-8CBF-40FE-B0C2-D33DCC5CE070}"/>
              </a:ext>
            </a:extLst>
          </p:cNvPr>
          <p:cNvSpPr/>
          <p:nvPr/>
        </p:nvSpPr>
        <p:spPr>
          <a:xfrm>
            <a:off x="5722004" y="3024065"/>
            <a:ext cx="1771178" cy="1771178"/>
          </a:xfrm>
          <a:prstGeom prst="ellipse">
            <a:avLst/>
          </a:prstGeom>
          <a:noFill/>
          <a:ln w="2222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D8D2E9B-824D-453C-802A-C05185D1FEFA}"/>
              </a:ext>
            </a:extLst>
          </p:cNvPr>
          <p:cNvSpPr/>
          <p:nvPr/>
        </p:nvSpPr>
        <p:spPr>
          <a:xfrm>
            <a:off x="8287110" y="1461483"/>
            <a:ext cx="3421893" cy="457736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6BEB7ED-DB49-4C4E-92D6-5D35755A3F4F}"/>
              </a:ext>
            </a:extLst>
          </p:cNvPr>
          <p:cNvSpPr txBox="1"/>
          <p:nvPr/>
        </p:nvSpPr>
        <p:spPr>
          <a:xfrm>
            <a:off x="7782871" y="1119542"/>
            <a:ext cx="4409129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OR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6" name="Chart 95">
            <a:extLst>
              <a:ext uri="{FF2B5EF4-FFF2-40B4-BE49-F238E27FC236}">
                <a16:creationId xmlns:a16="http://schemas.microsoft.com/office/drawing/2014/main" id="{4474375B-373A-42C6-B2E4-C22D25A7607B}"/>
              </a:ext>
            </a:extLst>
          </p:cNvPr>
          <p:cNvGraphicFramePr>
            <a:graphicFrameLocks/>
          </p:cNvGraphicFramePr>
          <p:nvPr/>
        </p:nvGraphicFramePr>
        <p:xfrm>
          <a:off x="8468117" y="1644419"/>
          <a:ext cx="3136967" cy="2180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38916" name="Picture 4" descr="Round blue and white illustration, Database Server Icon, Database Symbol,  template, user Interface Design png | PNGEgg">
            <a:extLst>
              <a:ext uri="{FF2B5EF4-FFF2-40B4-BE49-F238E27FC236}">
                <a16:creationId xmlns:a16="http://schemas.microsoft.com/office/drawing/2014/main" id="{DEF37AA8-5834-4332-87D7-499BCFDBEB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7002" y="4244663"/>
            <a:ext cx="1147290" cy="1021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8" name="Picture 6" descr="What Is Amazon Athena? | A Cloud Xpert">
            <a:extLst>
              <a:ext uri="{FF2B5EF4-FFF2-40B4-BE49-F238E27FC236}">
                <a16:creationId xmlns:a16="http://schemas.microsoft.com/office/drawing/2014/main" id="{3E01EE62-87FB-415D-AB1A-25A446D500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3737" y="4270282"/>
            <a:ext cx="2598532" cy="1270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0" name="Connector: Elbow 269">
            <a:extLst>
              <a:ext uri="{FF2B5EF4-FFF2-40B4-BE49-F238E27FC236}">
                <a16:creationId xmlns:a16="http://schemas.microsoft.com/office/drawing/2014/main" id="{4D81E090-A6A7-4421-B446-2396EB9704F9}"/>
              </a:ext>
            </a:extLst>
          </p:cNvPr>
          <p:cNvCxnSpPr>
            <a:cxnSpLocks/>
          </p:cNvCxnSpPr>
          <p:nvPr/>
        </p:nvCxnSpPr>
        <p:spPr>
          <a:xfrm flipV="1">
            <a:off x="7968706" y="4751966"/>
            <a:ext cx="895031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B976DB58-6AB3-492B-890D-ECE53EEB6F95}"/>
              </a:ext>
            </a:extLst>
          </p:cNvPr>
          <p:cNvSpPr txBox="1"/>
          <p:nvPr/>
        </p:nvSpPr>
        <p:spPr>
          <a:xfrm>
            <a:off x="6417494" y="5477151"/>
            <a:ext cx="1724567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DEL RESULTS HISTORY SAVED IN D</a:t>
            </a:r>
            <a:r>
              <a:rPr lang="en-US" sz="1400" dirty="0">
                <a:solidFill>
                  <a:srgbClr val="8A74A0"/>
                </a:solidFill>
                <a:latin typeface="Verdana"/>
              </a:rPr>
              <a:t>B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026" name="Picture 2" descr="Project Jupyter | Home">
            <a:extLst>
              <a:ext uri="{FF2B5EF4-FFF2-40B4-BE49-F238E27FC236}">
                <a16:creationId xmlns:a16="http://schemas.microsoft.com/office/drawing/2014/main" id="{7060419C-3BC9-4920-9F61-35812948B0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290" y="4017432"/>
            <a:ext cx="1922682" cy="826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67CF5A3-3F5F-4136-925E-950A0079B3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67" r="3881"/>
          <a:stretch/>
        </p:blipFill>
        <p:spPr bwMode="auto">
          <a:xfrm>
            <a:off x="3131838" y="4749902"/>
            <a:ext cx="1386079" cy="1062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Unifying Data Science Teams | BIOVIA Blog">
            <a:extLst>
              <a:ext uri="{FF2B5EF4-FFF2-40B4-BE49-F238E27FC236}">
                <a16:creationId xmlns:a16="http://schemas.microsoft.com/office/drawing/2014/main" id="{87B44E1B-A289-4B1D-A90B-AC88887D16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4" t="35357" r="32793" b="-106"/>
          <a:stretch/>
        </p:blipFill>
        <p:spPr bwMode="auto">
          <a:xfrm>
            <a:off x="4307909" y="4779615"/>
            <a:ext cx="1201144" cy="98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E86133F5-EDAC-45F0-A77A-FC85DB87D30C}"/>
              </a:ext>
            </a:extLst>
          </p:cNvPr>
          <p:cNvSpPr txBox="1"/>
          <p:nvPr/>
        </p:nvSpPr>
        <p:spPr>
          <a:xfrm>
            <a:off x="3433680" y="5847151"/>
            <a:ext cx="1724567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A74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 SCIENCE AND ML </a:t>
            </a:r>
            <a:r>
              <a:rPr lang="en-US" sz="1400" dirty="0">
                <a:solidFill>
                  <a:srgbClr val="8A74A0"/>
                </a:solidFill>
                <a:latin typeface="Verdana"/>
              </a:rPr>
              <a:t>WORKST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22449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0BC9EFE1-D8CB-4668-9980-DB108327A7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5" y="0"/>
            <a:ext cx="6271569" cy="6858000"/>
          </a:xfrm>
          <a:prstGeom prst="rect">
            <a:avLst/>
          </a:prstGeom>
          <a:gradFill>
            <a:gsLst>
              <a:gs pos="0">
                <a:schemeClr val="accent4"/>
              </a:gs>
              <a:gs pos="25000">
                <a:schemeClr val="accent4"/>
              </a:gs>
              <a:gs pos="94000">
                <a:schemeClr val="accent2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7CBAE1BD-B8E4-4029-8AA2-C77E4FED9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6B8E88BA-2877-4FB2-9D7C-B677D02FF468}"/>
              </a:ext>
            </a:extLst>
          </p:cNvPr>
          <p:cNvSpPr txBox="1">
            <a:spLocks/>
          </p:cNvSpPr>
          <p:nvPr/>
        </p:nvSpPr>
        <p:spPr>
          <a:xfrm>
            <a:off x="5072707" y="0"/>
            <a:ext cx="6642216" cy="760561"/>
          </a:xfrm>
          <a:prstGeom prst="ellipse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103891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 spc="-93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3100" dirty="0">
                <a:solidFill>
                  <a:srgbClr val="000000"/>
                </a:solidFill>
                <a:latin typeface="Calibri Light" panose="020F0302020204030204"/>
                <a:cs typeface="+mj-cs"/>
              </a:rPr>
              <a:t>DASHBOARDS</a:t>
            </a:r>
            <a:endParaRPr kumimoji="0" lang="en-US" sz="3100" b="0" i="0" u="none" strike="noStrike" kern="1200" cap="none" spc="-93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/>
              <a:ea typeface="Verdana" panose="020B0604030504040204" pitchFamily="34" charset="0"/>
              <a:cs typeface="+mj-cs"/>
            </a:endParaRPr>
          </a:p>
        </p:txBody>
      </p:sp>
      <p:sp>
        <p:nvSpPr>
          <p:cNvPr id="76" name="Freeform 49">
            <a:extLst>
              <a:ext uri="{FF2B5EF4-FFF2-40B4-BE49-F238E27FC236}">
                <a16:creationId xmlns:a16="http://schemas.microsoft.com/office/drawing/2014/main" id="{77DA6D33-2D62-458C-BF5D-DBF612FD5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590635"/>
            <a:ext cx="5478085" cy="6276841"/>
          </a:xfrm>
          <a:custGeom>
            <a:avLst/>
            <a:gdLst>
              <a:gd name="connsiteX0" fmla="*/ 2178155 w 5478085"/>
              <a:gd name="connsiteY0" fmla="*/ 0 h 6276841"/>
              <a:gd name="connsiteX1" fmla="*/ 5478085 w 5478085"/>
              <a:gd name="connsiteY1" fmla="*/ 3299930 h 6276841"/>
              <a:gd name="connsiteX2" fmla="*/ 3751098 w 5478085"/>
              <a:gd name="connsiteY2" fmla="*/ 6201577 h 6276841"/>
              <a:gd name="connsiteX3" fmla="*/ 3594858 w 5478085"/>
              <a:gd name="connsiteY3" fmla="*/ 6276841 h 6276841"/>
              <a:gd name="connsiteX4" fmla="*/ 761453 w 5478085"/>
              <a:gd name="connsiteY4" fmla="*/ 6276841 h 6276841"/>
              <a:gd name="connsiteX5" fmla="*/ 605213 w 5478085"/>
              <a:gd name="connsiteY5" fmla="*/ 6201577 h 6276841"/>
              <a:gd name="connsiteX6" fmla="*/ 79093 w 5478085"/>
              <a:gd name="connsiteY6" fmla="*/ 5846317 h 6276841"/>
              <a:gd name="connsiteX7" fmla="*/ 0 w 5478085"/>
              <a:gd name="connsiteY7" fmla="*/ 5774432 h 6276841"/>
              <a:gd name="connsiteX8" fmla="*/ 0 w 5478085"/>
              <a:gd name="connsiteY8" fmla="*/ 825429 h 6276841"/>
              <a:gd name="connsiteX9" fmla="*/ 79093 w 5478085"/>
              <a:gd name="connsiteY9" fmla="*/ 753544 h 6276841"/>
              <a:gd name="connsiteX10" fmla="*/ 2178155 w 5478085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78085" h="6276841">
                <a:moveTo>
                  <a:pt x="2178155" y="0"/>
                </a:moveTo>
                <a:cubicBezTo>
                  <a:pt x="4000656" y="0"/>
                  <a:pt x="5478085" y="1477429"/>
                  <a:pt x="5478085" y="3299930"/>
                </a:cubicBezTo>
                <a:cubicBezTo>
                  <a:pt x="5478085" y="4552900"/>
                  <a:pt x="4779769" y="5642769"/>
                  <a:pt x="3751098" y="6201577"/>
                </a:cubicBezTo>
                <a:lnTo>
                  <a:pt x="3594858" y="6276841"/>
                </a:lnTo>
                <a:lnTo>
                  <a:pt x="761453" y="6276841"/>
                </a:lnTo>
                <a:lnTo>
                  <a:pt x="605213" y="6201577"/>
                </a:lnTo>
                <a:cubicBezTo>
                  <a:pt x="418182" y="6099975"/>
                  <a:pt x="242071" y="5980818"/>
                  <a:pt x="79093" y="5846317"/>
                </a:cubicBezTo>
                <a:lnTo>
                  <a:pt x="0" y="5774432"/>
                </a:lnTo>
                <a:lnTo>
                  <a:pt x="0" y="825429"/>
                </a:lnTo>
                <a:lnTo>
                  <a:pt x="79093" y="753544"/>
                </a:lnTo>
                <a:cubicBezTo>
                  <a:pt x="649516" y="282789"/>
                  <a:pt x="1380811" y="0"/>
                  <a:pt x="2178155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4"/>
                </a:gs>
                <a:gs pos="23000">
                  <a:schemeClr val="accent4"/>
                </a:gs>
                <a:gs pos="83000">
                  <a:schemeClr val="accent2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98" name="Picture 2" descr="Image result for report icon">
            <a:extLst>
              <a:ext uri="{FF2B5EF4-FFF2-40B4-BE49-F238E27FC236}">
                <a16:creationId xmlns:a16="http://schemas.microsoft.com/office/drawing/2014/main" id="{FC27A246-E0B8-4686-9D39-182D19F533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60" r="3" b="7435"/>
          <a:stretch/>
        </p:blipFill>
        <p:spPr bwMode="auto">
          <a:xfrm>
            <a:off x="1" y="770037"/>
            <a:ext cx="5298683" cy="6097438"/>
          </a:xfrm>
          <a:custGeom>
            <a:avLst/>
            <a:gdLst/>
            <a:ahLst/>
            <a:cxnLst/>
            <a:rect l="l" t="t" r="r" b="b"/>
            <a:pathLst>
              <a:path w="5298683" h="6097438">
                <a:moveTo>
                  <a:pt x="2178155" y="0"/>
                </a:moveTo>
                <a:cubicBezTo>
                  <a:pt x="3901575" y="0"/>
                  <a:pt x="5298683" y="1397108"/>
                  <a:pt x="5298683" y="3120527"/>
                </a:cubicBezTo>
                <a:cubicBezTo>
                  <a:pt x="5298683" y="4413092"/>
                  <a:pt x="4512810" y="5522106"/>
                  <a:pt x="3392805" y="5995828"/>
                </a:cubicBezTo>
                <a:lnTo>
                  <a:pt x="3115184" y="6097438"/>
                </a:lnTo>
                <a:lnTo>
                  <a:pt x="1241127" y="6097438"/>
                </a:lnTo>
                <a:lnTo>
                  <a:pt x="963506" y="5995828"/>
                </a:lnTo>
                <a:cubicBezTo>
                  <a:pt x="683504" y="5877397"/>
                  <a:pt x="424387" y="5719261"/>
                  <a:pt x="193210" y="5528477"/>
                </a:cubicBezTo>
                <a:lnTo>
                  <a:pt x="0" y="5352876"/>
                </a:lnTo>
                <a:lnTo>
                  <a:pt x="0" y="888178"/>
                </a:lnTo>
                <a:lnTo>
                  <a:pt x="193210" y="712577"/>
                </a:lnTo>
                <a:cubicBezTo>
                  <a:pt x="732621" y="267415"/>
                  <a:pt x="1424159" y="0"/>
                  <a:pt x="2178155" y="0"/>
                </a:cubicBezTo>
                <a:close/>
              </a:path>
            </a:pathLst>
          </a:custGeom>
          <a:noFill/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3830270-BA89-4BF4-BD6B-3F88BAD389CE}"/>
              </a:ext>
            </a:extLst>
          </p:cNvPr>
          <p:cNvSpPr txBox="1"/>
          <p:nvPr/>
        </p:nvSpPr>
        <p:spPr>
          <a:xfrm>
            <a:off x="6095999" y="770037"/>
            <a:ext cx="5478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F0000"/>
                </a:solidFill>
                <a:latin typeface="Calibri" panose="020F0502020204030204"/>
              </a:rPr>
              <a:t>MLOPS REPORTS EXAMPL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1986493-5602-4124-8AEF-64F58010F9A0}"/>
              </a:ext>
            </a:extLst>
          </p:cNvPr>
          <p:cNvSpPr/>
          <p:nvPr/>
        </p:nvSpPr>
        <p:spPr>
          <a:xfrm>
            <a:off x="6095999" y="1280160"/>
            <a:ext cx="5341035" cy="829994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r>
              <a:rPr lang="en-US" dirty="0"/>
              <a:t>STABILITY METRICS &amp; REPORTS</a:t>
            </a:r>
          </a:p>
          <a:p>
            <a:pPr algn="ctr"/>
            <a:r>
              <a:rPr lang="en-US" sz="1200" dirty="0"/>
              <a:t>PSI – POPULATION STABILITY INDEX</a:t>
            </a:r>
          </a:p>
          <a:p>
            <a:pPr algn="ctr"/>
            <a:r>
              <a:rPr lang="en-US" sz="1200" dirty="0"/>
              <a:t>DIVERGENCE INDEX</a:t>
            </a:r>
          </a:p>
          <a:p>
            <a:pPr algn="ctr"/>
            <a:endParaRPr lang="en-US" sz="1200" dirty="0"/>
          </a:p>
          <a:p>
            <a:pPr algn="ctr"/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E781D6D-A14B-4748-A9EA-053AC85380B7}"/>
              </a:ext>
            </a:extLst>
          </p:cNvPr>
          <p:cNvSpPr/>
          <p:nvPr/>
        </p:nvSpPr>
        <p:spPr>
          <a:xfrm>
            <a:off x="6095999" y="2374885"/>
            <a:ext cx="5341035" cy="829994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ERFORMANCE METRICS &amp; REPORTS</a:t>
            </a:r>
          </a:p>
          <a:p>
            <a:pPr algn="ctr"/>
            <a:r>
              <a:rPr lang="en-US" sz="1200" dirty="0"/>
              <a:t>K-S, RMSE, AUC-ROC, R-SQUARED, CONFUSION MATRIX WITH COS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CF92FB2-8B22-4252-AE14-EE5F54E92276}"/>
              </a:ext>
            </a:extLst>
          </p:cNvPr>
          <p:cNvSpPr/>
          <p:nvPr/>
        </p:nvSpPr>
        <p:spPr>
          <a:xfrm>
            <a:off x="6095999" y="3469610"/>
            <a:ext cx="5341035" cy="829994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OPERATIONS METRICS &amp; REPORTS</a:t>
            </a:r>
          </a:p>
          <a:p>
            <a:pPr algn="ctr"/>
            <a:r>
              <a:rPr lang="en-US" sz="1200"/>
              <a:t>ML AND PIPELINE HEALTH</a:t>
            </a:r>
          </a:p>
        </p:txBody>
      </p:sp>
    </p:spTree>
    <p:extLst>
      <p:ext uri="{BB962C8B-B14F-4D97-AF65-F5344CB8AC3E}">
        <p14:creationId xmlns:p14="http://schemas.microsoft.com/office/powerpoint/2010/main" val="38487426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88294908-8B00-4F58-BBBA-20F71A40A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4364C879-1404-4203-8E9D-CC5DE0A621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82782" y="-1386168"/>
            <a:ext cx="2424873" cy="3611191"/>
          </a:xfrm>
          <a:custGeom>
            <a:avLst/>
            <a:gdLst>
              <a:gd name="connsiteX0" fmla="*/ 0 w 2424873"/>
              <a:gd name="connsiteY0" fmla="*/ 2424874 h 3611191"/>
              <a:gd name="connsiteX1" fmla="*/ 2424873 w 2424873"/>
              <a:gd name="connsiteY1" fmla="*/ 0 h 3611191"/>
              <a:gd name="connsiteX2" fmla="*/ 2424873 w 2424873"/>
              <a:gd name="connsiteY2" fmla="*/ 3611191 h 3611191"/>
              <a:gd name="connsiteX3" fmla="*/ 1186317 w 2424873"/>
              <a:gd name="connsiteY3" fmla="*/ 3611191 h 361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24873" h="3611191">
                <a:moveTo>
                  <a:pt x="0" y="2424874"/>
                </a:moveTo>
                <a:lnTo>
                  <a:pt x="2424873" y="0"/>
                </a:lnTo>
                <a:lnTo>
                  <a:pt x="2424873" y="3611191"/>
                </a:lnTo>
                <a:lnTo>
                  <a:pt x="1186317" y="3611191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84617302-4B0D-4351-A6BB-6F0930D9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571000" y="-338582"/>
            <a:ext cx="1635955" cy="1635955"/>
          </a:xfrm>
          <a:custGeom>
            <a:avLst/>
            <a:gdLst>
              <a:gd name="connsiteX0" fmla="*/ 0 w 1635955"/>
              <a:gd name="connsiteY0" fmla="*/ 957987 h 1635955"/>
              <a:gd name="connsiteX1" fmla="*/ 957987 w 1635955"/>
              <a:gd name="connsiteY1" fmla="*/ 0 h 1635955"/>
              <a:gd name="connsiteX2" fmla="*/ 1635955 w 1635955"/>
              <a:gd name="connsiteY2" fmla="*/ 0 h 1635955"/>
              <a:gd name="connsiteX3" fmla="*/ 1635955 w 1635955"/>
              <a:gd name="connsiteY3" fmla="*/ 1635955 h 1635955"/>
              <a:gd name="connsiteX4" fmla="*/ 0 w 1635955"/>
              <a:gd name="connsiteY4" fmla="*/ 1635955 h 1635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5955" h="1635955">
                <a:moveTo>
                  <a:pt x="0" y="957987"/>
                </a:moveTo>
                <a:lnTo>
                  <a:pt x="957987" y="0"/>
                </a:lnTo>
                <a:lnTo>
                  <a:pt x="1635955" y="0"/>
                </a:lnTo>
                <a:lnTo>
                  <a:pt x="1635955" y="1635955"/>
                </a:lnTo>
                <a:lnTo>
                  <a:pt x="0" y="1635955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DA2C7802-C2E0-4218-8F89-8DD7CCD2C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7985" y="-6588"/>
            <a:ext cx="4059393" cy="2548110"/>
          </a:xfrm>
          <a:custGeom>
            <a:avLst/>
            <a:gdLst>
              <a:gd name="connsiteX0" fmla="*/ 0 w 4059393"/>
              <a:gd name="connsiteY0" fmla="*/ 1511282 h 2548110"/>
              <a:gd name="connsiteX1" fmla="*/ 1511282 w 4059393"/>
              <a:gd name="connsiteY1" fmla="*/ 0 h 2548110"/>
              <a:gd name="connsiteX2" fmla="*/ 4059393 w 4059393"/>
              <a:gd name="connsiteY2" fmla="*/ 2548110 h 2548110"/>
              <a:gd name="connsiteX3" fmla="*/ 0 w 4059393"/>
              <a:gd name="connsiteY3" fmla="*/ 2548110 h 2548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9393" h="2548110">
                <a:moveTo>
                  <a:pt x="0" y="1511282"/>
                </a:moveTo>
                <a:lnTo>
                  <a:pt x="1511282" y="0"/>
                </a:lnTo>
                <a:lnTo>
                  <a:pt x="4059393" y="2548110"/>
                </a:lnTo>
                <a:lnTo>
                  <a:pt x="0" y="254811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6D7111A-21E5-4EE9-8A78-10E5530F01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262924" y="1465780"/>
            <a:ext cx="1185708" cy="118570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A3969E80-A77B-49FC-9122-D89AFD5EE1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-29557" y="5198743"/>
            <a:ext cx="2444907" cy="2366116"/>
          </a:xfrm>
          <a:custGeom>
            <a:avLst/>
            <a:gdLst>
              <a:gd name="connsiteX0" fmla="*/ 0 w 2203753"/>
              <a:gd name="connsiteY0" fmla="*/ 0 h 2132734"/>
              <a:gd name="connsiteX1" fmla="*/ 2203753 w 2203753"/>
              <a:gd name="connsiteY1" fmla="*/ 0 h 2132734"/>
              <a:gd name="connsiteX2" fmla="*/ 2203753 w 2203753"/>
              <a:gd name="connsiteY2" fmla="*/ 576461 h 2132734"/>
              <a:gd name="connsiteX3" fmla="*/ 647480 w 2203753"/>
              <a:gd name="connsiteY3" fmla="*/ 2132734 h 2132734"/>
              <a:gd name="connsiteX4" fmla="*/ 0 w 2203753"/>
              <a:gd name="connsiteY4" fmla="*/ 1485255 h 2132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3753" h="2132734">
                <a:moveTo>
                  <a:pt x="0" y="0"/>
                </a:moveTo>
                <a:lnTo>
                  <a:pt x="2203753" y="0"/>
                </a:lnTo>
                <a:lnTo>
                  <a:pt x="2203753" y="576461"/>
                </a:lnTo>
                <a:lnTo>
                  <a:pt x="647480" y="2132734"/>
                </a:lnTo>
                <a:lnTo>
                  <a:pt x="0" y="1485255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849CA57-76BD-4CF2-80BA-D7A46A01B7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769787" y="5439893"/>
            <a:ext cx="928467" cy="928467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5E9085E-E730-4768-83D4-6CB7E98971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3401311" y="734311"/>
            <a:ext cx="5389379" cy="5389379"/>
          </a:xfrm>
          <a:custGeom>
            <a:avLst/>
            <a:gdLst>
              <a:gd name="connsiteX0" fmla="*/ 0 w 5389379"/>
              <a:gd name="connsiteY0" fmla="*/ 540040 h 5389379"/>
              <a:gd name="connsiteX1" fmla="*/ 540040 w 5389379"/>
              <a:gd name="connsiteY1" fmla="*/ 0 h 5389379"/>
              <a:gd name="connsiteX2" fmla="*/ 5389379 w 5389379"/>
              <a:gd name="connsiteY2" fmla="*/ 0 h 5389379"/>
              <a:gd name="connsiteX3" fmla="*/ 5389379 w 5389379"/>
              <a:gd name="connsiteY3" fmla="*/ 4838655 h 5389379"/>
              <a:gd name="connsiteX4" fmla="*/ 4838655 w 5389379"/>
              <a:gd name="connsiteY4" fmla="*/ 5389379 h 5389379"/>
              <a:gd name="connsiteX5" fmla="*/ 0 w 5389379"/>
              <a:gd name="connsiteY5" fmla="*/ 5389379 h 538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89379" h="5389379">
                <a:moveTo>
                  <a:pt x="0" y="540040"/>
                </a:moveTo>
                <a:lnTo>
                  <a:pt x="540040" y="0"/>
                </a:lnTo>
                <a:lnTo>
                  <a:pt x="5389379" y="0"/>
                </a:lnTo>
                <a:lnTo>
                  <a:pt x="5389379" y="4838655"/>
                </a:lnTo>
                <a:lnTo>
                  <a:pt x="4838655" y="5389379"/>
                </a:lnTo>
                <a:lnTo>
                  <a:pt x="0" y="53893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0D18B3-06EA-4805-BB9C-E1EAF3B54C5B}"/>
              </a:ext>
            </a:extLst>
          </p:cNvPr>
          <p:cNvSpPr txBox="1"/>
          <p:nvPr/>
        </p:nvSpPr>
        <p:spPr>
          <a:xfrm>
            <a:off x="151799" y="-323595"/>
            <a:ext cx="11542401" cy="215071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DEMO: PREDICTING TAXI CAB TRIP TIME…</a:t>
            </a: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973272FE-A474-4CAE-8CA2-BCC8B476C3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2700283" y="33283"/>
            <a:ext cx="6791435" cy="6791435"/>
          </a:xfrm>
          <a:custGeom>
            <a:avLst/>
            <a:gdLst>
              <a:gd name="connsiteX0" fmla="*/ 1860938 w 6791435"/>
              <a:gd name="connsiteY0" fmla="*/ 81158 h 6791435"/>
              <a:gd name="connsiteX1" fmla="*/ 1942096 w 6791435"/>
              <a:gd name="connsiteY1" fmla="*/ 0 h 6791435"/>
              <a:gd name="connsiteX2" fmla="*/ 6791435 w 6791435"/>
              <a:gd name="connsiteY2" fmla="*/ 0 h 6791435"/>
              <a:gd name="connsiteX3" fmla="*/ 6791435 w 6791435"/>
              <a:gd name="connsiteY3" fmla="*/ 4838655 h 6791435"/>
              <a:gd name="connsiteX4" fmla="*/ 6710277 w 6791435"/>
              <a:gd name="connsiteY4" fmla="*/ 4919813 h 6791435"/>
              <a:gd name="connsiteX5" fmla="*/ 6710277 w 6791435"/>
              <a:gd name="connsiteY5" fmla="*/ 81158 h 6791435"/>
              <a:gd name="connsiteX6" fmla="*/ 0 w 6791435"/>
              <a:gd name="connsiteY6" fmla="*/ 1942096 h 6791435"/>
              <a:gd name="connsiteX7" fmla="*/ 81158 w 6791435"/>
              <a:gd name="connsiteY7" fmla="*/ 1860938 h 6791435"/>
              <a:gd name="connsiteX8" fmla="*/ 81158 w 6791435"/>
              <a:gd name="connsiteY8" fmla="*/ 6710277 h 6791435"/>
              <a:gd name="connsiteX9" fmla="*/ 4919813 w 6791435"/>
              <a:gd name="connsiteY9" fmla="*/ 6710277 h 6791435"/>
              <a:gd name="connsiteX10" fmla="*/ 4838655 w 6791435"/>
              <a:gd name="connsiteY10" fmla="*/ 6791435 h 6791435"/>
              <a:gd name="connsiteX11" fmla="*/ 0 w 6791435"/>
              <a:gd name="connsiteY11" fmla="*/ 6791435 h 6791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91435" h="6791435">
                <a:moveTo>
                  <a:pt x="1860938" y="81158"/>
                </a:moveTo>
                <a:lnTo>
                  <a:pt x="1942096" y="0"/>
                </a:lnTo>
                <a:lnTo>
                  <a:pt x="6791435" y="0"/>
                </a:lnTo>
                <a:lnTo>
                  <a:pt x="6791435" y="4838655"/>
                </a:lnTo>
                <a:lnTo>
                  <a:pt x="6710277" y="4919813"/>
                </a:lnTo>
                <a:lnTo>
                  <a:pt x="6710277" y="81158"/>
                </a:lnTo>
                <a:close/>
                <a:moveTo>
                  <a:pt x="0" y="1942096"/>
                </a:moveTo>
                <a:lnTo>
                  <a:pt x="81158" y="1860938"/>
                </a:lnTo>
                <a:lnTo>
                  <a:pt x="81158" y="6710277"/>
                </a:lnTo>
                <a:lnTo>
                  <a:pt x="4919813" y="6710277"/>
                </a:lnTo>
                <a:lnTo>
                  <a:pt x="4838655" y="6791435"/>
                </a:lnTo>
                <a:lnTo>
                  <a:pt x="0" y="679143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E07981EA-05A6-437C-88D7-B377B92B03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9823" y="5457591"/>
            <a:ext cx="2231794" cy="2568811"/>
          </a:xfrm>
          <a:custGeom>
            <a:avLst/>
            <a:gdLst>
              <a:gd name="connsiteX0" fmla="*/ 0 w 2940086"/>
              <a:gd name="connsiteY0" fmla="*/ 0 h 3384061"/>
              <a:gd name="connsiteX1" fmla="*/ 2496112 w 2940086"/>
              <a:gd name="connsiteY1" fmla="*/ 0 h 3384061"/>
              <a:gd name="connsiteX2" fmla="*/ 2940086 w 2940086"/>
              <a:gd name="connsiteY2" fmla="*/ 443975 h 3384061"/>
              <a:gd name="connsiteX3" fmla="*/ 0 w 2940086"/>
              <a:gd name="connsiteY3" fmla="*/ 3384061 h 338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0086" h="3384061">
                <a:moveTo>
                  <a:pt x="0" y="0"/>
                </a:moveTo>
                <a:lnTo>
                  <a:pt x="2496112" y="0"/>
                </a:lnTo>
                <a:lnTo>
                  <a:pt x="2940086" y="443975"/>
                </a:lnTo>
                <a:lnTo>
                  <a:pt x="0" y="3384061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15E3C750-986E-4769-B1AE-49289FBEE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720059" y="5243545"/>
            <a:ext cx="959985" cy="95998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itle 2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1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57C4EC2-B9D9-47F3-8A0E-61E13B4BA947}"/>
              </a:ext>
            </a:extLst>
          </p:cNvPr>
          <p:cNvSpPr/>
          <p:nvPr/>
        </p:nvSpPr>
        <p:spPr>
          <a:xfrm>
            <a:off x="497800" y="1087002"/>
            <a:ext cx="11348199" cy="90244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n w="12700">
                  <a:solidFill>
                    <a:schemeClr val="tx1"/>
                  </a:solidFill>
                </a:ln>
                <a:solidFill>
                  <a:schemeClr val="bg1"/>
                </a:solidFill>
              </a:rPr>
              <a:t>Recalibrating models in real time with the most up to date data helps us to identify estimated trip times and increases overall productivity and efficiency for the business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2F8167F-DA08-440E-8E07-A3130105F36E}"/>
              </a:ext>
            </a:extLst>
          </p:cNvPr>
          <p:cNvSpPr/>
          <p:nvPr/>
        </p:nvSpPr>
        <p:spPr>
          <a:xfrm>
            <a:off x="795129" y="2703443"/>
            <a:ext cx="2375940" cy="327328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84A6C33-E680-47E4-839D-6D266366F932}"/>
              </a:ext>
            </a:extLst>
          </p:cNvPr>
          <p:cNvSpPr/>
          <p:nvPr/>
        </p:nvSpPr>
        <p:spPr>
          <a:xfrm>
            <a:off x="3545774" y="2703443"/>
            <a:ext cx="2453484" cy="327328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8F486D-A8D1-44D3-AF89-DEDBC7B8883B}"/>
              </a:ext>
            </a:extLst>
          </p:cNvPr>
          <p:cNvSpPr txBox="1"/>
          <p:nvPr/>
        </p:nvSpPr>
        <p:spPr>
          <a:xfrm>
            <a:off x="966871" y="2237846"/>
            <a:ext cx="2095416" cy="369332"/>
          </a:xfrm>
          <a:custGeom>
            <a:avLst/>
            <a:gdLst>
              <a:gd name="connsiteX0" fmla="*/ 0 w 2095416"/>
              <a:gd name="connsiteY0" fmla="*/ 0 h 369332"/>
              <a:gd name="connsiteX1" fmla="*/ 502900 w 2095416"/>
              <a:gd name="connsiteY1" fmla="*/ 0 h 369332"/>
              <a:gd name="connsiteX2" fmla="*/ 984846 w 2095416"/>
              <a:gd name="connsiteY2" fmla="*/ 0 h 369332"/>
              <a:gd name="connsiteX3" fmla="*/ 1550608 w 2095416"/>
              <a:gd name="connsiteY3" fmla="*/ 0 h 369332"/>
              <a:gd name="connsiteX4" fmla="*/ 2095416 w 2095416"/>
              <a:gd name="connsiteY4" fmla="*/ 0 h 369332"/>
              <a:gd name="connsiteX5" fmla="*/ 2095416 w 2095416"/>
              <a:gd name="connsiteY5" fmla="*/ 369332 h 369332"/>
              <a:gd name="connsiteX6" fmla="*/ 1634424 w 2095416"/>
              <a:gd name="connsiteY6" fmla="*/ 369332 h 369332"/>
              <a:gd name="connsiteX7" fmla="*/ 1152479 w 2095416"/>
              <a:gd name="connsiteY7" fmla="*/ 369332 h 369332"/>
              <a:gd name="connsiteX8" fmla="*/ 607671 w 2095416"/>
              <a:gd name="connsiteY8" fmla="*/ 369332 h 369332"/>
              <a:gd name="connsiteX9" fmla="*/ 0 w 2095416"/>
              <a:gd name="connsiteY9" fmla="*/ 369332 h 369332"/>
              <a:gd name="connsiteX10" fmla="*/ 0 w 2095416"/>
              <a:gd name="connsiteY10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95416" h="369332" extrusionOk="0">
                <a:moveTo>
                  <a:pt x="0" y="0"/>
                </a:moveTo>
                <a:cubicBezTo>
                  <a:pt x="135525" y="-6376"/>
                  <a:pt x="368670" y="20656"/>
                  <a:pt x="502900" y="0"/>
                </a:cubicBezTo>
                <a:cubicBezTo>
                  <a:pt x="637130" y="-20656"/>
                  <a:pt x="766941" y="15880"/>
                  <a:pt x="984846" y="0"/>
                </a:cubicBezTo>
                <a:cubicBezTo>
                  <a:pt x="1202751" y="-15880"/>
                  <a:pt x="1296606" y="28357"/>
                  <a:pt x="1550608" y="0"/>
                </a:cubicBezTo>
                <a:cubicBezTo>
                  <a:pt x="1804610" y="-28357"/>
                  <a:pt x="1905423" y="55901"/>
                  <a:pt x="2095416" y="0"/>
                </a:cubicBezTo>
                <a:cubicBezTo>
                  <a:pt x="2113172" y="105437"/>
                  <a:pt x="2080030" y="259717"/>
                  <a:pt x="2095416" y="369332"/>
                </a:cubicBezTo>
                <a:cubicBezTo>
                  <a:pt x="1979827" y="416835"/>
                  <a:pt x="1830014" y="347043"/>
                  <a:pt x="1634424" y="369332"/>
                </a:cubicBezTo>
                <a:cubicBezTo>
                  <a:pt x="1438834" y="391621"/>
                  <a:pt x="1361704" y="364070"/>
                  <a:pt x="1152479" y="369332"/>
                </a:cubicBezTo>
                <a:cubicBezTo>
                  <a:pt x="943255" y="374594"/>
                  <a:pt x="760190" y="349977"/>
                  <a:pt x="607671" y="369332"/>
                </a:cubicBezTo>
                <a:cubicBezTo>
                  <a:pt x="455152" y="388687"/>
                  <a:pt x="200267" y="326816"/>
                  <a:pt x="0" y="369332"/>
                </a:cubicBezTo>
                <a:cubicBezTo>
                  <a:pt x="-40265" y="271727"/>
                  <a:pt x="43371" y="164336"/>
                  <a:pt x="0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019227117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dirty="0"/>
              <a:t>Data Fetch Queries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5F47AEE-8B76-45EE-A47F-545E67CA01DB}"/>
              </a:ext>
            </a:extLst>
          </p:cNvPr>
          <p:cNvSpPr txBox="1"/>
          <p:nvPr/>
        </p:nvSpPr>
        <p:spPr>
          <a:xfrm>
            <a:off x="3614824" y="2232494"/>
            <a:ext cx="2453484" cy="369332"/>
          </a:xfrm>
          <a:custGeom>
            <a:avLst/>
            <a:gdLst>
              <a:gd name="connsiteX0" fmla="*/ 0 w 2453484"/>
              <a:gd name="connsiteY0" fmla="*/ 0 h 369332"/>
              <a:gd name="connsiteX1" fmla="*/ 564301 w 2453484"/>
              <a:gd name="connsiteY1" fmla="*/ 0 h 369332"/>
              <a:gd name="connsiteX2" fmla="*/ 1128603 w 2453484"/>
              <a:gd name="connsiteY2" fmla="*/ 0 h 369332"/>
              <a:gd name="connsiteX3" fmla="*/ 1692904 w 2453484"/>
              <a:gd name="connsiteY3" fmla="*/ 0 h 369332"/>
              <a:gd name="connsiteX4" fmla="*/ 2453484 w 2453484"/>
              <a:gd name="connsiteY4" fmla="*/ 0 h 369332"/>
              <a:gd name="connsiteX5" fmla="*/ 2453484 w 2453484"/>
              <a:gd name="connsiteY5" fmla="*/ 369332 h 369332"/>
              <a:gd name="connsiteX6" fmla="*/ 1840113 w 2453484"/>
              <a:gd name="connsiteY6" fmla="*/ 369332 h 369332"/>
              <a:gd name="connsiteX7" fmla="*/ 1300347 w 2453484"/>
              <a:gd name="connsiteY7" fmla="*/ 369332 h 369332"/>
              <a:gd name="connsiteX8" fmla="*/ 686976 w 2453484"/>
              <a:gd name="connsiteY8" fmla="*/ 369332 h 369332"/>
              <a:gd name="connsiteX9" fmla="*/ 0 w 2453484"/>
              <a:gd name="connsiteY9" fmla="*/ 369332 h 369332"/>
              <a:gd name="connsiteX10" fmla="*/ 0 w 2453484"/>
              <a:gd name="connsiteY10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53484" h="369332" extrusionOk="0">
                <a:moveTo>
                  <a:pt x="0" y="0"/>
                </a:moveTo>
                <a:cubicBezTo>
                  <a:pt x="268253" y="4275"/>
                  <a:pt x="422775" y="13746"/>
                  <a:pt x="564301" y="0"/>
                </a:cubicBezTo>
                <a:cubicBezTo>
                  <a:pt x="705827" y="-13746"/>
                  <a:pt x="891749" y="-28162"/>
                  <a:pt x="1128603" y="0"/>
                </a:cubicBezTo>
                <a:cubicBezTo>
                  <a:pt x="1365457" y="28162"/>
                  <a:pt x="1530651" y="709"/>
                  <a:pt x="1692904" y="0"/>
                </a:cubicBezTo>
                <a:cubicBezTo>
                  <a:pt x="1855157" y="-709"/>
                  <a:pt x="2207125" y="-22911"/>
                  <a:pt x="2453484" y="0"/>
                </a:cubicBezTo>
                <a:cubicBezTo>
                  <a:pt x="2441871" y="116095"/>
                  <a:pt x="2454479" y="191597"/>
                  <a:pt x="2453484" y="369332"/>
                </a:cubicBezTo>
                <a:cubicBezTo>
                  <a:pt x="2319833" y="362774"/>
                  <a:pt x="2123158" y="342809"/>
                  <a:pt x="1840113" y="369332"/>
                </a:cubicBezTo>
                <a:cubicBezTo>
                  <a:pt x="1557068" y="395855"/>
                  <a:pt x="1430684" y="393506"/>
                  <a:pt x="1300347" y="369332"/>
                </a:cubicBezTo>
                <a:cubicBezTo>
                  <a:pt x="1170010" y="345158"/>
                  <a:pt x="981575" y="368533"/>
                  <a:pt x="686976" y="369332"/>
                </a:cubicBezTo>
                <a:cubicBezTo>
                  <a:pt x="392377" y="370131"/>
                  <a:pt x="228733" y="365452"/>
                  <a:pt x="0" y="369332"/>
                </a:cubicBezTo>
                <a:cubicBezTo>
                  <a:pt x="16142" y="191152"/>
                  <a:pt x="4894" y="174169"/>
                  <a:pt x="0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68796115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dirty="0" err="1"/>
              <a:t>Tensorflow</a:t>
            </a:r>
            <a:r>
              <a:rPr lang="en-US" dirty="0"/>
              <a:t> ML Models 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E8A89599-E47B-4D91-8B41-47B13AB8499C}"/>
              </a:ext>
            </a:extLst>
          </p:cNvPr>
          <p:cNvSpPr/>
          <p:nvPr/>
        </p:nvSpPr>
        <p:spPr>
          <a:xfrm>
            <a:off x="6412527" y="2709568"/>
            <a:ext cx="2453484" cy="327328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883D91E-7666-4348-AD8E-1F43FC2CC351}"/>
              </a:ext>
            </a:extLst>
          </p:cNvPr>
          <p:cNvSpPr txBox="1"/>
          <p:nvPr/>
        </p:nvSpPr>
        <p:spPr>
          <a:xfrm>
            <a:off x="6497580" y="2232494"/>
            <a:ext cx="2453484" cy="369332"/>
          </a:xfrm>
          <a:custGeom>
            <a:avLst/>
            <a:gdLst>
              <a:gd name="connsiteX0" fmla="*/ 0 w 2453484"/>
              <a:gd name="connsiteY0" fmla="*/ 0 h 369332"/>
              <a:gd name="connsiteX1" fmla="*/ 417092 w 2453484"/>
              <a:gd name="connsiteY1" fmla="*/ 0 h 369332"/>
              <a:gd name="connsiteX2" fmla="*/ 858719 w 2453484"/>
              <a:gd name="connsiteY2" fmla="*/ 0 h 369332"/>
              <a:gd name="connsiteX3" fmla="*/ 1398486 w 2453484"/>
              <a:gd name="connsiteY3" fmla="*/ 0 h 369332"/>
              <a:gd name="connsiteX4" fmla="*/ 1864648 w 2453484"/>
              <a:gd name="connsiteY4" fmla="*/ 0 h 369332"/>
              <a:gd name="connsiteX5" fmla="*/ 2453484 w 2453484"/>
              <a:gd name="connsiteY5" fmla="*/ 0 h 369332"/>
              <a:gd name="connsiteX6" fmla="*/ 2453484 w 2453484"/>
              <a:gd name="connsiteY6" fmla="*/ 369332 h 369332"/>
              <a:gd name="connsiteX7" fmla="*/ 2036392 w 2453484"/>
              <a:gd name="connsiteY7" fmla="*/ 369332 h 369332"/>
              <a:gd name="connsiteX8" fmla="*/ 1545695 w 2453484"/>
              <a:gd name="connsiteY8" fmla="*/ 369332 h 369332"/>
              <a:gd name="connsiteX9" fmla="*/ 1104068 w 2453484"/>
              <a:gd name="connsiteY9" fmla="*/ 369332 h 369332"/>
              <a:gd name="connsiteX10" fmla="*/ 564301 w 2453484"/>
              <a:gd name="connsiteY10" fmla="*/ 369332 h 369332"/>
              <a:gd name="connsiteX11" fmla="*/ 0 w 2453484"/>
              <a:gd name="connsiteY11" fmla="*/ 369332 h 369332"/>
              <a:gd name="connsiteX12" fmla="*/ 0 w 2453484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53484" h="369332" extrusionOk="0">
                <a:moveTo>
                  <a:pt x="0" y="0"/>
                </a:moveTo>
                <a:cubicBezTo>
                  <a:pt x="96788" y="-2842"/>
                  <a:pt x="290721" y="12352"/>
                  <a:pt x="417092" y="0"/>
                </a:cubicBezTo>
                <a:cubicBezTo>
                  <a:pt x="543463" y="-12352"/>
                  <a:pt x="668676" y="33937"/>
                  <a:pt x="858719" y="0"/>
                </a:cubicBezTo>
                <a:cubicBezTo>
                  <a:pt x="1048762" y="-33937"/>
                  <a:pt x="1262664" y="4006"/>
                  <a:pt x="1398486" y="0"/>
                </a:cubicBezTo>
                <a:cubicBezTo>
                  <a:pt x="1534308" y="-4006"/>
                  <a:pt x="1717659" y="43537"/>
                  <a:pt x="1864648" y="0"/>
                </a:cubicBezTo>
                <a:cubicBezTo>
                  <a:pt x="2011637" y="-43537"/>
                  <a:pt x="2300557" y="58222"/>
                  <a:pt x="2453484" y="0"/>
                </a:cubicBezTo>
                <a:cubicBezTo>
                  <a:pt x="2454598" y="112835"/>
                  <a:pt x="2421698" y="242920"/>
                  <a:pt x="2453484" y="369332"/>
                </a:cubicBezTo>
                <a:cubicBezTo>
                  <a:pt x="2258892" y="381948"/>
                  <a:pt x="2224023" y="323787"/>
                  <a:pt x="2036392" y="369332"/>
                </a:cubicBezTo>
                <a:cubicBezTo>
                  <a:pt x="1848761" y="414877"/>
                  <a:pt x="1790975" y="362297"/>
                  <a:pt x="1545695" y="369332"/>
                </a:cubicBezTo>
                <a:cubicBezTo>
                  <a:pt x="1300415" y="376367"/>
                  <a:pt x="1297261" y="323057"/>
                  <a:pt x="1104068" y="369332"/>
                </a:cubicBezTo>
                <a:cubicBezTo>
                  <a:pt x="910875" y="415607"/>
                  <a:pt x="731618" y="357015"/>
                  <a:pt x="564301" y="369332"/>
                </a:cubicBezTo>
                <a:cubicBezTo>
                  <a:pt x="396984" y="381649"/>
                  <a:pt x="185198" y="360696"/>
                  <a:pt x="0" y="369332"/>
                </a:cubicBezTo>
                <a:cubicBezTo>
                  <a:pt x="-12941" y="258875"/>
                  <a:pt x="4536" y="130665"/>
                  <a:pt x="0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597538517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dirty="0"/>
              <a:t>   Kubeflow Pipelines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7340BDDF-2992-4A4A-82FA-10F1EB9A8D5F}"/>
              </a:ext>
            </a:extLst>
          </p:cNvPr>
          <p:cNvSpPr/>
          <p:nvPr/>
        </p:nvSpPr>
        <p:spPr>
          <a:xfrm>
            <a:off x="9240716" y="2676222"/>
            <a:ext cx="2453484" cy="327328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38251FF-4F9B-43A9-B7D3-3A7DD6DD4FD2}"/>
              </a:ext>
            </a:extLst>
          </p:cNvPr>
          <p:cNvSpPr txBox="1"/>
          <p:nvPr/>
        </p:nvSpPr>
        <p:spPr>
          <a:xfrm>
            <a:off x="9283640" y="2214486"/>
            <a:ext cx="2453484" cy="369332"/>
          </a:xfrm>
          <a:custGeom>
            <a:avLst/>
            <a:gdLst>
              <a:gd name="connsiteX0" fmla="*/ 0 w 2453484"/>
              <a:gd name="connsiteY0" fmla="*/ 0 h 369332"/>
              <a:gd name="connsiteX1" fmla="*/ 539766 w 2453484"/>
              <a:gd name="connsiteY1" fmla="*/ 0 h 369332"/>
              <a:gd name="connsiteX2" fmla="*/ 956859 w 2453484"/>
              <a:gd name="connsiteY2" fmla="*/ 0 h 369332"/>
              <a:gd name="connsiteX3" fmla="*/ 1423021 w 2453484"/>
              <a:gd name="connsiteY3" fmla="*/ 0 h 369332"/>
              <a:gd name="connsiteX4" fmla="*/ 1962787 w 2453484"/>
              <a:gd name="connsiteY4" fmla="*/ 0 h 369332"/>
              <a:gd name="connsiteX5" fmla="*/ 2453484 w 2453484"/>
              <a:gd name="connsiteY5" fmla="*/ 0 h 369332"/>
              <a:gd name="connsiteX6" fmla="*/ 2453484 w 2453484"/>
              <a:gd name="connsiteY6" fmla="*/ 369332 h 369332"/>
              <a:gd name="connsiteX7" fmla="*/ 1938252 w 2453484"/>
              <a:gd name="connsiteY7" fmla="*/ 369332 h 369332"/>
              <a:gd name="connsiteX8" fmla="*/ 1472090 w 2453484"/>
              <a:gd name="connsiteY8" fmla="*/ 369332 h 369332"/>
              <a:gd name="connsiteX9" fmla="*/ 1054998 w 2453484"/>
              <a:gd name="connsiteY9" fmla="*/ 369332 h 369332"/>
              <a:gd name="connsiteX10" fmla="*/ 564301 w 2453484"/>
              <a:gd name="connsiteY10" fmla="*/ 369332 h 369332"/>
              <a:gd name="connsiteX11" fmla="*/ 0 w 2453484"/>
              <a:gd name="connsiteY11" fmla="*/ 369332 h 369332"/>
              <a:gd name="connsiteX12" fmla="*/ 0 w 2453484"/>
              <a:gd name="connsiteY12" fmla="*/ 0 h 369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53484" h="369332" extrusionOk="0">
                <a:moveTo>
                  <a:pt x="0" y="0"/>
                </a:moveTo>
                <a:cubicBezTo>
                  <a:pt x="266388" y="-2296"/>
                  <a:pt x="329766" y="58945"/>
                  <a:pt x="539766" y="0"/>
                </a:cubicBezTo>
                <a:cubicBezTo>
                  <a:pt x="749766" y="-58945"/>
                  <a:pt x="837901" y="21150"/>
                  <a:pt x="956859" y="0"/>
                </a:cubicBezTo>
                <a:cubicBezTo>
                  <a:pt x="1075817" y="-21150"/>
                  <a:pt x="1286474" y="42889"/>
                  <a:pt x="1423021" y="0"/>
                </a:cubicBezTo>
                <a:cubicBezTo>
                  <a:pt x="1559568" y="-42889"/>
                  <a:pt x="1741325" y="934"/>
                  <a:pt x="1962787" y="0"/>
                </a:cubicBezTo>
                <a:cubicBezTo>
                  <a:pt x="2184249" y="-934"/>
                  <a:pt x="2322208" y="49772"/>
                  <a:pt x="2453484" y="0"/>
                </a:cubicBezTo>
                <a:cubicBezTo>
                  <a:pt x="2482935" y="153091"/>
                  <a:pt x="2414118" y="262311"/>
                  <a:pt x="2453484" y="369332"/>
                </a:cubicBezTo>
                <a:cubicBezTo>
                  <a:pt x="2255432" y="405378"/>
                  <a:pt x="2049206" y="309362"/>
                  <a:pt x="1938252" y="369332"/>
                </a:cubicBezTo>
                <a:cubicBezTo>
                  <a:pt x="1827298" y="429302"/>
                  <a:pt x="1610137" y="319340"/>
                  <a:pt x="1472090" y="369332"/>
                </a:cubicBezTo>
                <a:cubicBezTo>
                  <a:pt x="1334043" y="419324"/>
                  <a:pt x="1198309" y="342986"/>
                  <a:pt x="1054998" y="369332"/>
                </a:cubicBezTo>
                <a:cubicBezTo>
                  <a:pt x="911687" y="395678"/>
                  <a:pt x="808252" y="366829"/>
                  <a:pt x="564301" y="369332"/>
                </a:cubicBezTo>
                <a:cubicBezTo>
                  <a:pt x="320350" y="371835"/>
                  <a:pt x="262272" y="333516"/>
                  <a:pt x="0" y="369332"/>
                </a:cubicBezTo>
                <a:cubicBezTo>
                  <a:pt x="-43647" y="278669"/>
                  <a:pt x="15688" y="179815"/>
                  <a:pt x="0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652788729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US" dirty="0"/>
              <a:t>              Repor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10E634-0E05-4F38-A858-839B4F141ABC}"/>
              </a:ext>
            </a:extLst>
          </p:cNvPr>
          <p:cNvSpPr txBox="1"/>
          <p:nvPr/>
        </p:nvSpPr>
        <p:spPr>
          <a:xfrm>
            <a:off x="966871" y="2897057"/>
            <a:ext cx="208110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ripts and procedures enables to fetch data at any set interval for extraction of the training and validation data sets</a:t>
            </a:r>
          </a:p>
          <a:p>
            <a:endParaRPr lang="en-US" dirty="0"/>
          </a:p>
          <a:p>
            <a:r>
              <a:rPr lang="en-US" dirty="0"/>
              <a:t>Drop zones for data input and outpu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39F6BEA-8D0D-4B30-A828-1954F54AFA07}"/>
              </a:ext>
            </a:extLst>
          </p:cNvPr>
          <p:cNvSpPr txBox="1"/>
          <p:nvPr/>
        </p:nvSpPr>
        <p:spPr>
          <a:xfrm>
            <a:off x="3729399" y="2818528"/>
            <a:ext cx="208110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del development environment on GCP using </a:t>
            </a:r>
            <a:r>
              <a:rPr lang="en-US" dirty="0" err="1"/>
              <a:t>JupyterHub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Demo </a:t>
            </a:r>
            <a:r>
              <a:rPr lang="en-US" dirty="0" err="1"/>
              <a:t>Tensorflow</a:t>
            </a:r>
            <a:r>
              <a:rPr lang="en-US" dirty="0"/>
              <a:t> model developed to predict trip time on the onset of the trip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C160FD9-38F1-466C-AF43-EB31547E7221}"/>
              </a:ext>
            </a:extLst>
          </p:cNvPr>
          <p:cNvSpPr txBox="1"/>
          <p:nvPr/>
        </p:nvSpPr>
        <p:spPr>
          <a:xfrm>
            <a:off x="6547919" y="2894152"/>
            <a:ext cx="208110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utomated retriggering established based on recalibration events using Kubeflow pipeline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0FC27F6-2ABB-4C78-94E7-0C046E5F14F7}"/>
              </a:ext>
            </a:extLst>
          </p:cNvPr>
          <p:cNvSpPr txBox="1"/>
          <p:nvPr/>
        </p:nvSpPr>
        <p:spPr>
          <a:xfrm>
            <a:off x="9397236" y="2818779"/>
            <a:ext cx="20811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del retriggering events initiate new model estimates and reports on accuracy of the model and the cost/benefit analysis for the org.</a:t>
            </a:r>
          </a:p>
        </p:txBody>
      </p:sp>
    </p:spTree>
    <p:extLst>
      <p:ext uri="{BB962C8B-B14F-4D97-AF65-F5344CB8AC3E}">
        <p14:creationId xmlns:p14="http://schemas.microsoft.com/office/powerpoint/2010/main" val="2281318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F2210"/>
      </a:accent1>
      <a:accent2>
        <a:srgbClr val="245227"/>
      </a:accent2>
      <a:accent3>
        <a:srgbClr val="488862"/>
      </a:accent3>
      <a:accent4>
        <a:srgbClr val="59AA7A"/>
      </a:accent4>
      <a:accent5>
        <a:srgbClr val="9ED2AE"/>
      </a:accent5>
      <a:accent6>
        <a:srgbClr val="C2ECC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16401875_PowerPoint Graphics Sampler_RVA_v3.potx" id="{81A42FD6-4326-4835-93D5-04241D78DF76}" vid="{C2821E24-821F-4516-BD19-A78AEEFAC4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Capgemini Master">
  <a:themeElements>
    <a:clrScheme name="Custom 1">
      <a:dk1>
        <a:srgbClr val="000000"/>
      </a:dk1>
      <a:lt1>
        <a:srgbClr val="FFFFFF"/>
      </a:lt1>
      <a:dk2>
        <a:srgbClr val="FFBC0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75</TotalTime>
  <Words>260</Words>
  <Application>Microsoft Office PowerPoint</Application>
  <PresentationFormat>Widescreen</PresentationFormat>
  <Paragraphs>57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rial</vt:lpstr>
      <vt:lpstr>Arial Black</vt:lpstr>
      <vt:lpstr>Arial Narrow</vt:lpstr>
      <vt:lpstr>Arial Nova</vt:lpstr>
      <vt:lpstr>Calibri</vt:lpstr>
      <vt:lpstr>Calibri Light</vt:lpstr>
      <vt:lpstr>Verdana</vt:lpstr>
      <vt:lpstr>Wingdings</vt:lpstr>
      <vt:lpstr>1_Office Theme</vt:lpstr>
      <vt:lpstr>Office Theme</vt:lpstr>
      <vt:lpstr>6_Capgemini Master</vt:lpstr>
      <vt:lpstr>think-cell Slide</vt:lpstr>
      <vt:lpstr>Sample 1</vt:lpstr>
      <vt:lpstr>OUR APPROACH</vt:lpstr>
      <vt:lpstr>PowerPoint Presentation</vt:lpstr>
      <vt:lpstr>Sample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ple 1</dc:title>
  <dc:creator>Ristov, Helen S</dc:creator>
  <cp:lastModifiedBy>Ristov, Helen S</cp:lastModifiedBy>
  <cp:revision>3</cp:revision>
  <dcterms:created xsi:type="dcterms:W3CDTF">2021-05-03T14:50:36Z</dcterms:created>
  <dcterms:modified xsi:type="dcterms:W3CDTF">2021-05-10T16:37:24Z</dcterms:modified>
</cp:coreProperties>
</file>